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9.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30.xml" ContentType="application/vnd.openxmlformats-officedocument.drawingml.chart+xml"/>
  <Override PartName="/ppt/charts/style6.xml" ContentType="application/vnd.ms-office.chartstyle+xml"/>
  <Override PartName="/ppt/charts/colors6.xml" ContentType="application/vnd.ms-office.chartcolorstyle+xml"/>
  <Override PartName="/ppt/tags/tag50.xml" ContentType="application/vnd.openxmlformats-officedocument.presentationml.tags+xml"/>
  <Override PartName="/ppt/charts/chart31.xml" ContentType="application/vnd.openxmlformats-officedocument.drawingml.chart+xml"/>
  <Override PartName="/ppt/charts/style7.xml" ContentType="application/vnd.ms-office.chartstyle+xml"/>
  <Override PartName="/ppt/charts/colors7.xml" ContentType="application/vnd.ms-office.chartcolorstyle+xml"/>
  <Override PartName="/ppt/tags/tag51.xml" ContentType="application/vnd.openxmlformats-officedocument.presentationml.tags+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tags/tag52.xml" ContentType="application/vnd.openxmlformats-officedocument.presentationml.tags+xml"/>
  <Override PartName="/ppt/charts/chart33.xml" ContentType="application/vnd.openxmlformats-officedocument.drawingml.chart+xml"/>
  <Override PartName="/ppt/charts/style9.xml" ContentType="application/vnd.ms-office.chartstyle+xml"/>
  <Override PartName="/ppt/charts/colors9.xml" ContentType="application/vnd.ms-office.chartcolorstyle+xml"/>
  <Override PartName="/ppt/tags/tag53.xml" ContentType="application/vnd.openxmlformats-officedocument.presentationml.tags+xml"/>
  <Override PartName="/ppt/charts/chart34.xml" ContentType="application/vnd.openxmlformats-officedocument.drawingml.chart+xml"/>
  <Override PartName="/ppt/charts/style10.xml" ContentType="application/vnd.ms-office.chartstyle+xml"/>
  <Override PartName="/ppt/charts/colors10.xml" ContentType="application/vnd.ms-office.chartcolorstyle+xml"/>
  <Override PartName="/ppt/tags/tag54.xml" ContentType="application/vnd.openxmlformats-officedocument.presentationml.tags+xml"/>
  <Override PartName="/ppt/charts/chart35.xml" ContentType="application/vnd.openxmlformats-officedocument.drawingml.chart+xml"/>
  <Override PartName="/ppt/charts/style11.xml" ContentType="application/vnd.ms-office.chartstyle+xml"/>
  <Override PartName="/ppt/charts/colors11.xml" ContentType="application/vnd.ms-office.chartcolorstyle+xml"/>
  <Override PartName="/ppt/tags/tag55.xml" ContentType="application/vnd.openxmlformats-officedocument.presentationml.tags+xml"/>
  <Override PartName="/ppt/charts/chart36.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charts/chart37.xml" ContentType="application/vnd.openxmlformats-officedocument.drawingml.chart+xml"/>
  <Override PartName="/ppt/charts/style13.xml" ContentType="application/vnd.ms-office.chartstyle+xml"/>
  <Override PartName="/ppt/charts/colors13.xml" ContentType="application/vnd.ms-office.chartcolorstyle+xml"/>
  <Override PartName="/ppt/tags/tag57.xml" ContentType="application/vnd.openxmlformats-officedocument.presentationml.tags+xml"/>
  <Override PartName="/ppt/charts/chart38.xml" ContentType="application/vnd.openxmlformats-officedocument.drawingml.chart+xml"/>
  <Override PartName="/ppt/charts/style14.xml" ContentType="application/vnd.ms-office.chartstyle+xml"/>
  <Override PartName="/ppt/charts/colors14.xml" ContentType="application/vnd.ms-office.chartcolorstyle+xml"/>
  <Override PartName="/ppt/tags/tag58.xml" ContentType="application/vnd.openxmlformats-officedocument.presentationml.tags+xml"/>
  <Override PartName="/ppt/charts/chart39.xml" ContentType="application/vnd.openxmlformats-officedocument.drawingml.chart+xml"/>
  <Override PartName="/ppt/charts/style15.xml" ContentType="application/vnd.ms-office.chartstyle+xml"/>
  <Override PartName="/ppt/charts/colors15.xml" ContentType="application/vnd.ms-office.chartcolorstyle+xml"/>
  <Override PartName="/ppt/tags/tag59.xml" ContentType="application/vnd.openxmlformats-officedocument.presentationml.tags+xml"/>
  <Override PartName="/ppt/charts/chart40.xml" ContentType="application/vnd.openxmlformats-officedocument.drawingml.chart+xml"/>
  <Override PartName="/ppt/charts/style16.xml" ContentType="application/vnd.ms-office.chartstyle+xml"/>
  <Override PartName="/ppt/charts/colors16.xml" ContentType="application/vnd.ms-office.chartcolorstyle+xml"/>
  <Override PartName="/ppt/tags/tag60.xml" ContentType="application/vnd.openxmlformats-officedocument.presentationml.tags+xml"/>
  <Override PartName="/ppt/charts/chart41.xml" ContentType="application/vnd.openxmlformats-officedocument.drawingml.chart+xml"/>
  <Override PartName="/ppt/charts/style17.xml" ContentType="application/vnd.ms-office.chartstyle+xml"/>
  <Override PartName="/ppt/charts/colors17.xml" ContentType="application/vnd.ms-office.chartcolorstyle+xml"/>
  <Override PartName="/ppt/tags/tag61.xml" ContentType="application/vnd.openxmlformats-officedocument.presentationml.tags+xml"/>
  <Override PartName="/ppt/charts/chart42.xml" ContentType="application/vnd.openxmlformats-officedocument.drawingml.chart+xml"/>
  <Override PartName="/ppt/charts/style18.xml" ContentType="application/vnd.ms-office.chartstyle+xml"/>
  <Override PartName="/ppt/charts/colors18.xml" ContentType="application/vnd.ms-office.chartcolorstyle+xml"/>
  <Override PartName="/ppt/tags/tag62.xml" ContentType="application/vnd.openxmlformats-officedocument.presentationml.tags+xml"/>
  <Override PartName="/ppt/notesSlides/notesSlide23.xml" ContentType="application/vnd.openxmlformats-officedocument.presentationml.notesSlide+xml"/>
  <Override PartName="/ppt/charts/chart43.xml" ContentType="application/vnd.openxmlformats-officedocument.drawingml.chart+xml"/>
  <Override PartName="/ppt/tags/tag63.xml" ContentType="application/vnd.openxmlformats-officedocument.presentationml.tags+xml"/>
  <Override PartName="/ppt/notesSlides/notesSlide24.xml" ContentType="application/vnd.openxmlformats-officedocument.presentationml.notesSlide+xml"/>
  <Override PartName="/ppt/charts/chart44.xml" ContentType="application/vnd.openxmlformats-officedocument.drawingml.chart+xml"/>
  <Override PartName="/ppt/tags/tag64.xml" ContentType="application/vnd.openxmlformats-officedocument.presentationml.tags+xml"/>
  <Override PartName="/ppt/notesSlides/notesSlide25.xml" ContentType="application/vnd.openxmlformats-officedocument.presentationml.notesSlide+xml"/>
  <Override PartName="/ppt/charts/chart45.xml" ContentType="application/vnd.openxmlformats-officedocument.drawingml.chart+xml"/>
  <Override PartName="/ppt/tags/tag65.xml" ContentType="application/vnd.openxmlformats-officedocument.presentationml.tags+xml"/>
  <Override PartName="/ppt/notesSlides/notesSlide26.xml" ContentType="application/vnd.openxmlformats-officedocument.presentationml.notesSlide+xml"/>
  <Override PartName="/ppt/charts/chart46.xml" ContentType="application/vnd.openxmlformats-officedocument.drawingml.chart+xml"/>
  <Override PartName="/ppt/tags/tag66.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tags/tag67.xml" ContentType="application/vnd.openxmlformats-officedocument.presentationml.tags+xml"/>
  <Override PartName="/ppt/notesSlides/notesSlide28.xml" ContentType="application/vnd.openxmlformats-officedocument.presentationml.notesSlide+xml"/>
  <Override PartName="/ppt/charts/chart48.xml" ContentType="application/vnd.openxmlformats-officedocument.drawingml.chart+xml"/>
  <Override PartName="/ppt/tags/tag68.xml" ContentType="application/vnd.openxmlformats-officedocument.presentationml.tags+xml"/>
  <Override PartName="/ppt/notesSlides/notesSlide29.xml" ContentType="application/vnd.openxmlformats-officedocument.presentationml.notesSlide+xml"/>
  <Override PartName="/ppt/charts/chart49.xml" ContentType="application/vnd.openxmlformats-officedocument.drawingml.chart+xml"/>
  <Override PartName="/ppt/tags/tag69.xml" ContentType="application/vnd.openxmlformats-officedocument.presentationml.tags+xml"/>
  <Override PartName="/ppt/notesSlides/notesSlide30.xml" ContentType="application/vnd.openxmlformats-officedocument.presentationml.notesSlide+xml"/>
  <Override PartName="/ppt/charts/chart50.xml" ContentType="application/vnd.openxmlformats-officedocument.drawingml.chart+xml"/>
  <Override PartName="/ppt/tags/tag70.xml" ContentType="application/vnd.openxmlformats-officedocument.presentationml.tags+xml"/>
  <Override PartName="/ppt/notesSlides/notesSlide31.xml" ContentType="application/vnd.openxmlformats-officedocument.presentationml.notesSlide+xml"/>
  <Override PartName="/ppt/charts/chart51.xml" ContentType="application/vnd.openxmlformats-officedocument.drawingml.chart+xml"/>
  <Override PartName="/ppt/tags/tag71.xml" ContentType="application/vnd.openxmlformats-officedocument.presentationml.tags+xml"/>
  <Override PartName="/ppt/notesSlides/notesSlide32.xml" ContentType="application/vnd.openxmlformats-officedocument.presentationml.notesSlide+xml"/>
  <Override PartName="/ppt/charts/chart52.xml" ContentType="application/vnd.openxmlformats-officedocument.drawingml.chart+xml"/>
  <Override PartName="/ppt/tags/tag72.xml" ContentType="application/vnd.openxmlformats-officedocument.presentationml.tags+xml"/>
  <Override PartName="/ppt/notesSlides/notesSlide33.xml" ContentType="application/vnd.openxmlformats-officedocument.presentationml.notesSlide+xml"/>
  <Override PartName="/ppt/charts/chart53.xml" ContentType="application/vnd.openxmlformats-officedocument.drawingml.chart+xml"/>
  <Override PartName="/ppt/tags/tag73.xml" ContentType="application/vnd.openxmlformats-officedocument.presentationml.tags+xml"/>
  <Override PartName="/ppt/notesSlides/notesSlide34.xml" ContentType="application/vnd.openxmlformats-officedocument.presentationml.notesSlide+xml"/>
  <Override PartName="/ppt/charts/chart5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5.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109.xml" ContentType="application/vnd.openxmlformats-officedocument.presentationml.tags+xml"/>
  <Override PartName="/ppt/notesSlides/notesSlide36.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110.xml" ContentType="application/vnd.openxmlformats-officedocument.presentationml.tags+xml"/>
  <Override PartName="/ppt/notesSlides/notesSlide37.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111.xml" ContentType="application/vnd.openxmlformats-officedocument.presentationml.tags+xml"/>
  <Override PartName="/ppt/notesSlides/notesSlide38.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112.xml" ContentType="application/vnd.openxmlformats-officedocument.presentationml.tags+xml"/>
  <Override PartName="/ppt/notesSlides/notesSlide39.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13.xml" ContentType="application/vnd.openxmlformats-officedocument.presentationml.tags+xml"/>
  <Override PartName="/ppt/notesSlides/notesSlide40.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14.xml" ContentType="application/vnd.openxmlformats-officedocument.presentationml.tags+xml"/>
  <Override PartName="/ppt/notesSlides/notesSlide41.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115.xml" ContentType="application/vnd.openxmlformats-officedocument.presentationml.tags+xml"/>
  <Override PartName="/ppt/notesSlides/notesSlide42.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tags/tag116.xml" ContentType="application/vnd.openxmlformats-officedocument.presentationml.tags+xml"/>
  <Override PartName="/ppt/notesSlides/notesSlide43.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tags/tag117.xml" ContentType="application/vnd.openxmlformats-officedocument.presentationml.tags+xml"/>
  <Override PartName="/ppt/notesSlides/notesSlide44.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118.xml" ContentType="application/vnd.openxmlformats-officedocument.presentationml.tags+xml"/>
  <Override PartName="/ppt/notesSlides/notesSlide45.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119.xml" ContentType="application/vnd.openxmlformats-officedocument.presentationml.tags+xml"/>
  <Override PartName="/ppt/notesSlides/notesSlide46.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120.xml" ContentType="application/vnd.openxmlformats-officedocument.presentationml.tags+xml"/>
  <Override PartName="/ppt/notesSlides/notesSlide4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121.xml" ContentType="application/vnd.openxmlformats-officedocument.presentationml.tags+xml"/>
  <Override PartName="/ppt/notesSlides/notesSlide4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122.xml" ContentType="application/vnd.openxmlformats-officedocument.presentationml.tags+xml"/>
  <Override PartName="/ppt/notesSlides/notesSlide49.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23.xml" ContentType="application/vnd.openxmlformats-officedocument.presentationml.tags+xml"/>
  <Override PartName="/ppt/notesSlides/notesSlide50.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124.xml" ContentType="application/vnd.openxmlformats-officedocument.presentationml.tags+xml"/>
  <Override PartName="/ppt/notesSlides/notesSlide51.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tags/tag125.xml" ContentType="application/vnd.openxmlformats-officedocument.presentationml.tags+xml"/>
  <Override PartName="/ppt/notesSlides/notesSlide5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126.xml" ContentType="application/vnd.openxmlformats-officedocument.presentationml.tags+xml"/>
  <Override PartName="/ppt/notesSlides/notesSlide53.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127.xml" ContentType="application/vnd.openxmlformats-officedocument.presentationml.tags+xml"/>
  <Override PartName="/ppt/notesSlides/notesSlide54.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tags/tag128.xml" ContentType="application/vnd.openxmlformats-officedocument.presentationml.tags+xml"/>
  <Override PartName="/ppt/notesSlides/notesSlide55.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tags/tag129.xml" ContentType="application/vnd.openxmlformats-officedocument.presentationml.tags+xml"/>
  <Override PartName="/ppt/charts/chart97.xml" ContentType="application/vnd.openxmlformats-officedocument.drawingml.chart+xml"/>
  <Override PartName="/ppt/tags/tag130.xml" ContentType="application/vnd.openxmlformats-officedocument.presentationml.tags+xml"/>
  <Override PartName="/ppt/charts/chart98.xml" ContentType="application/vnd.openxmlformats-officedocument.drawingml.chart+xml"/>
  <Override PartName="/ppt/tags/tag131.xml" ContentType="application/vnd.openxmlformats-officedocument.presentationml.tags+xml"/>
  <Override PartName="/ppt/charts/chart99.xml" ContentType="application/vnd.openxmlformats-officedocument.drawingml.chart+xml"/>
  <Override PartName="/ppt/tags/tag132.xml" ContentType="application/vnd.openxmlformats-officedocument.presentationml.tags+xml"/>
  <Override PartName="/ppt/charts/chart100.xml" ContentType="application/vnd.openxmlformats-officedocument.drawingml.chart+xml"/>
  <Override PartName="/ppt/tags/tag133.xml" ContentType="application/vnd.openxmlformats-officedocument.presentationml.tags+xml"/>
  <Override PartName="/ppt/charts/chart101.xml" ContentType="application/vnd.openxmlformats-officedocument.drawingml.chart+xml"/>
  <Override PartName="/ppt/tags/tag134.xml" ContentType="application/vnd.openxmlformats-officedocument.presentationml.tags+xml"/>
  <Override PartName="/ppt/charts/chart102.xml" ContentType="application/vnd.openxmlformats-officedocument.drawingml.chart+xml"/>
  <Override PartName="/ppt/tags/tag135.xml" ContentType="application/vnd.openxmlformats-officedocument.presentationml.tags+xml"/>
  <Override PartName="/ppt/charts/chart103.xml" ContentType="application/vnd.openxmlformats-officedocument.drawingml.chart+xml"/>
  <Override PartName="/ppt/tags/tag136.xml" ContentType="application/vnd.openxmlformats-officedocument.presentationml.tags+xml"/>
  <Override PartName="/ppt/charts/chart104.xml" ContentType="application/vnd.openxmlformats-officedocument.drawingml.chart+xml"/>
  <Override PartName="/ppt/tags/tag137.xml" ContentType="application/vnd.openxmlformats-officedocument.presentationml.tags+xml"/>
  <Override PartName="/ppt/charts/chart105.xml" ContentType="application/vnd.openxmlformats-officedocument.drawingml.chart+xml"/>
  <Override PartName="/ppt/tags/tag138.xml" ContentType="application/vnd.openxmlformats-officedocument.presentationml.tags+xml"/>
  <Override PartName="/ppt/charts/chart106.xml" ContentType="application/vnd.openxmlformats-officedocument.drawingml.chart+xml"/>
  <Override PartName="/ppt/tags/tag139.xml" ContentType="application/vnd.openxmlformats-officedocument.presentationml.tags+xml"/>
  <Override PartName="/ppt/charts/chart107.xml" ContentType="application/vnd.openxmlformats-officedocument.drawingml.chart+xml"/>
  <Override PartName="/ppt/tags/tag140.xml" ContentType="application/vnd.openxmlformats-officedocument.presentationml.tags+xml"/>
  <Override PartName="/ppt/charts/chart108.xml" ContentType="application/vnd.openxmlformats-officedocument.drawingml.chart+xml"/>
  <Override PartName="/ppt/tags/tag141.xml" ContentType="application/vnd.openxmlformats-officedocument.presentationml.tags+xml"/>
  <Override PartName="/ppt/notesSlides/notesSlide56.xml" ContentType="application/vnd.openxmlformats-officedocument.presentationml.notesSlid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tags/tag142.xml" ContentType="application/vnd.openxmlformats-officedocument.presentationml.tags+xml"/>
  <Override PartName="/ppt/notesSlides/notesSlide57.xml" ContentType="application/vnd.openxmlformats-officedocument.presentationml.notesSlide+xml"/>
  <Override PartName="/ppt/charts/chart110.xml" ContentType="application/vnd.openxmlformats-officedocument.drawingml.chart+xml"/>
  <Override PartName="/ppt/charts/style20.xml" ContentType="application/vnd.ms-office.chartstyle+xml"/>
  <Override PartName="/ppt/charts/colors20.xml" ContentType="application/vnd.ms-office.chartcolorstyle+xml"/>
  <Override PartName="/ppt/tags/tag143.xml" ContentType="application/vnd.openxmlformats-officedocument.presentationml.tags+xml"/>
  <Override PartName="/ppt/notesSlides/notesSlide58.xml" ContentType="application/vnd.openxmlformats-officedocument.presentationml.notesSlide+xml"/>
  <Override PartName="/ppt/charts/chart111.xml" ContentType="application/vnd.openxmlformats-officedocument.drawingml.chart+xml"/>
  <Override PartName="/ppt/charts/style21.xml" ContentType="application/vnd.ms-office.chartstyle+xml"/>
  <Override PartName="/ppt/charts/colors21.xml" ContentType="application/vnd.ms-office.chartcolorstyle+xml"/>
  <Override PartName="/ppt/tags/tag144.xml" ContentType="application/vnd.openxmlformats-officedocument.presentationml.tags+xml"/>
  <Override PartName="/ppt/notesSlides/notesSlide59.xml" ContentType="application/vnd.openxmlformats-officedocument.presentationml.notesSlide+xml"/>
  <Override PartName="/ppt/charts/chart112.xml" ContentType="application/vnd.openxmlformats-officedocument.drawingml.chart+xml"/>
  <Override PartName="/ppt/charts/style22.xml" ContentType="application/vnd.ms-office.chartstyle+xml"/>
  <Override PartName="/ppt/charts/colors22.xml" ContentType="application/vnd.ms-office.chartcolorstyle+xml"/>
  <Override PartName="/ppt/tags/tag145.xml" ContentType="application/vnd.openxmlformats-officedocument.presentationml.tags+xml"/>
  <Override PartName="/ppt/notesSlides/notesSlide60.xml" ContentType="application/vnd.openxmlformats-officedocument.presentationml.notesSlide+xml"/>
  <Override PartName="/ppt/charts/chart113.xml" ContentType="application/vnd.openxmlformats-officedocument.drawingml.chart+xml"/>
  <Override PartName="/ppt/charts/style23.xml" ContentType="application/vnd.ms-office.chartstyle+xml"/>
  <Override PartName="/ppt/charts/colors23.xml" ContentType="application/vnd.ms-office.chartcolorstyle+xml"/>
  <Override PartName="/ppt/tags/tag146.xml" ContentType="application/vnd.openxmlformats-officedocument.presentationml.tags+xml"/>
  <Override PartName="/ppt/notesSlides/notesSlide61.xml" ContentType="application/vnd.openxmlformats-officedocument.presentationml.notesSlide+xml"/>
  <Override PartName="/ppt/charts/chart114.xml" ContentType="application/vnd.openxmlformats-officedocument.drawingml.chart+xml"/>
  <Override PartName="/ppt/charts/style24.xml" ContentType="application/vnd.ms-office.chartstyle+xml"/>
  <Override PartName="/ppt/charts/colors24.xml" ContentType="application/vnd.ms-office.chartcolorstyle+xml"/>
  <Override PartName="/ppt/tags/tag147.xml" ContentType="application/vnd.openxmlformats-officedocument.presentationml.tags+xml"/>
  <Override PartName="/ppt/notesSlides/notesSlide62.xml" ContentType="application/vnd.openxmlformats-officedocument.presentationml.notesSlide+xml"/>
  <Override PartName="/ppt/charts/chart115.xml" ContentType="application/vnd.openxmlformats-officedocument.drawingml.chart+xml"/>
  <Override PartName="/ppt/charts/style25.xml" ContentType="application/vnd.ms-office.chartstyle+xml"/>
  <Override PartName="/ppt/charts/colors25.xml" ContentType="application/vnd.ms-office.chartcolorstyle+xml"/>
  <Override PartName="/ppt/tags/tag148.xml" ContentType="application/vnd.openxmlformats-officedocument.presentationml.tags+xml"/>
  <Override PartName="/ppt/notesSlides/notesSlide63.xml" ContentType="application/vnd.openxmlformats-officedocument.presentationml.notesSlide+xml"/>
  <Override PartName="/ppt/charts/chart116.xml" ContentType="application/vnd.openxmlformats-officedocument.drawingml.chart+xml"/>
  <Override PartName="/ppt/charts/style26.xml" ContentType="application/vnd.ms-office.chartstyle+xml"/>
  <Override PartName="/ppt/charts/colors26.xml" ContentType="application/vnd.ms-office.chartcolorstyle+xml"/>
  <Override PartName="/ppt/tags/tag149.xml" ContentType="application/vnd.openxmlformats-officedocument.presentationml.tags+xml"/>
  <Override PartName="/ppt/notesSlides/notesSlide64.xml" ContentType="application/vnd.openxmlformats-officedocument.presentationml.notesSlide+xml"/>
  <Override PartName="/ppt/charts/chart117.xml" ContentType="application/vnd.openxmlformats-officedocument.drawingml.chart+xml"/>
  <Override PartName="/ppt/charts/style27.xml" ContentType="application/vnd.ms-office.chartstyle+xml"/>
  <Override PartName="/ppt/charts/colors27.xml" ContentType="application/vnd.ms-office.chartcolorstyle+xml"/>
  <Override PartName="/ppt/tags/tag150.xml" ContentType="application/vnd.openxmlformats-officedocument.presentationml.tags+xml"/>
  <Override PartName="/ppt/notesSlides/notesSlide65.xml" ContentType="application/vnd.openxmlformats-officedocument.presentationml.notesSlide+xml"/>
  <Override PartName="/ppt/charts/chart118.xml" ContentType="application/vnd.openxmlformats-officedocument.drawingml.chart+xml"/>
  <Override PartName="/ppt/charts/style28.xml" ContentType="application/vnd.ms-office.chartstyle+xml"/>
  <Override PartName="/ppt/charts/colors28.xml" ContentType="application/vnd.ms-office.chartcolorstyle+xml"/>
  <Override PartName="/ppt/tags/tag151.xml" ContentType="application/vnd.openxmlformats-officedocument.presentationml.tags+xml"/>
  <Override PartName="/ppt/notesSlides/notesSlide66.xml" ContentType="application/vnd.openxmlformats-officedocument.presentationml.notesSlide+xml"/>
  <Override PartName="/ppt/charts/chart119.xml" ContentType="application/vnd.openxmlformats-officedocument.drawingml.chart+xml"/>
  <Override PartName="/ppt/charts/style29.xml" ContentType="application/vnd.ms-office.chartstyle+xml"/>
  <Override PartName="/ppt/charts/colors29.xml" ContentType="application/vnd.ms-office.chartcolorstyle+xml"/>
  <Override PartName="/ppt/tags/tag152.xml" ContentType="application/vnd.openxmlformats-officedocument.presentationml.tags+xml"/>
  <Override PartName="/ppt/notesSlides/notesSlide67.xml" ContentType="application/vnd.openxmlformats-officedocument.presentationml.notesSlide+xml"/>
  <Override PartName="/ppt/charts/chart120.xml" ContentType="application/vnd.openxmlformats-officedocument.drawingml.chart+xml"/>
  <Override PartName="/ppt/charts/style30.xml" ContentType="application/vnd.ms-office.chartstyle+xml"/>
  <Override PartName="/ppt/charts/colors30.xml" ContentType="application/vnd.ms-office.chartcolorstyle+xml"/>
  <Override PartName="/ppt/tags/tag153.xml" ContentType="application/vnd.openxmlformats-officedocument.presentationml.tags+xml"/>
  <Override PartName="/ppt/notesSlides/notesSlide68.xml" ContentType="application/vnd.openxmlformats-officedocument.presentationml.notesSlide+xml"/>
  <Override PartName="/ppt/charts/chart121.xml" ContentType="application/vnd.openxmlformats-officedocument.drawingml.chart+xml"/>
  <Override PartName="/ppt/charts/style31.xml" ContentType="application/vnd.ms-office.chartstyle+xml"/>
  <Override PartName="/ppt/charts/colors31.xml" ContentType="application/vnd.ms-office.chartcolorstyle+xml"/>
  <Override PartName="/ppt/tags/tag154.xml" ContentType="application/vnd.openxmlformats-officedocument.presentationml.tags+xml"/>
  <Override PartName="/ppt/notesSlides/notesSlide69.xml" ContentType="application/vnd.openxmlformats-officedocument.presentationml.notesSlide+xml"/>
  <Override PartName="/ppt/charts/chart122.xml" ContentType="application/vnd.openxmlformats-officedocument.drawingml.chart+xml"/>
  <Override PartName="/ppt/charts/style32.xml" ContentType="application/vnd.ms-office.chartstyle+xml"/>
  <Override PartName="/ppt/charts/colors32.xml" ContentType="application/vnd.ms-office.chartcolorstyle+xml"/>
  <Override PartName="/ppt/tags/tag155.xml" ContentType="application/vnd.openxmlformats-officedocument.presentationml.tags+xml"/>
  <Override PartName="/ppt/notesSlides/notesSlide70.xml" ContentType="application/vnd.openxmlformats-officedocument.presentationml.notesSlide+xml"/>
  <Override PartName="/ppt/charts/chart123.xml" ContentType="application/vnd.openxmlformats-officedocument.drawingml.chart+xml"/>
  <Override PartName="/ppt/charts/style33.xml" ContentType="application/vnd.ms-office.chartstyle+xml"/>
  <Override PartName="/ppt/charts/colors33.xml" ContentType="application/vnd.ms-office.chartcolorstyle+xml"/>
  <Override PartName="/ppt/tags/tag156.xml" ContentType="application/vnd.openxmlformats-officedocument.presentationml.tags+xml"/>
  <Override PartName="/ppt/notesSlides/notesSlide71.xml" ContentType="application/vnd.openxmlformats-officedocument.presentationml.notesSlide+xml"/>
  <Override PartName="/ppt/charts/chart124.xml" ContentType="application/vnd.openxmlformats-officedocument.drawingml.chart+xml"/>
  <Override PartName="/ppt/charts/style34.xml" ContentType="application/vnd.ms-office.chartstyle+xml"/>
  <Override PartName="/ppt/charts/colors34.xml" ContentType="application/vnd.ms-office.chartcolorstyle+xml"/>
  <Override PartName="/ppt/tags/tag157.xml" ContentType="application/vnd.openxmlformats-officedocument.presentationml.tags+xml"/>
  <Override PartName="/ppt/notesSlides/notesSlide72.xml" ContentType="application/vnd.openxmlformats-officedocument.presentationml.notesSlide+xml"/>
  <Override PartName="/ppt/charts/chart125.xml" ContentType="application/vnd.openxmlformats-officedocument.drawingml.chart+xml"/>
  <Override PartName="/ppt/charts/style35.xml" ContentType="application/vnd.ms-office.chartstyle+xml"/>
  <Override PartName="/ppt/charts/colors35.xml" ContentType="application/vnd.ms-office.chartcolorstyle+xml"/>
  <Override PartName="/ppt/tags/tag158.xml" ContentType="application/vnd.openxmlformats-officedocument.presentationml.tags+xml"/>
  <Override PartName="/ppt/charts/chart126.xml" ContentType="application/vnd.openxmlformats-officedocument.drawingml.chart+xml"/>
  <Override PartName="/ppt/tags/tag159.xml" ContentType="application/vnd.openxmlformats-officedocument.presentationml.tags+xml"/>
  <Override PartName="/ppt/charts/chart127.xml" ContentType="application/vnd.openxmlformats-officedocument.drawingml.chart+xml"/>
  <Override PartName="/ppt/tags/tag160.xml" ContentType="application/vnd.openxmlformats-officedocument.presentationml.tags+xml"/>
  <Override PartName="/ppt/charts/chart128.xml" ContentType="application/vnd.openxmlformats-officedocument.drawingml.chart+xml"/>
  <Override PartName="/ppt/tags/tag161.xml" ContentType="application/vnd.openxmlformats-officedocument.presentationml.tags+xml"/>
  <Override PartName="/ppt/charts/chart129.xml" ContentType="application/vnd.openxmlformats-officedocument.drawingml.chart+xml"/>
  <Override PartName="/ppt/tags/tag162.xml" ContentType="application/vnd.openxmlformats-officedocument.presentationml.tags+xml"/>
  <Override PartName="/ppt/charts/chart130.xml" ContentType="application/vnd.openxmlformats-officedocument.drawingml.chart+xml"/>
  <Override PartName="/ppt/tags/tag163.xml" ContentType="application/vnd.openxmlformats-officedocument.presentationml.tags+xml"/>
  <Override PartName="/ppt/charts/chart131.xml" ContentType="application/vnd.openxmlformats-officedocument.drawingml.chart+xml"/>
  <Override PartName="/ppt/tags/tag164.xml" ContentType="application/vnd.openxmlformats-officedocument.presentationml.tags+xml"/>
  <Override PartName="/ppt/charts/chart132.xml" ContentType="application/vnd.openxmlformats-officedocument.drawingml.chart+xml"/>
  <Override PartName="/ppt/tags/tag165.xml" ContentType="application/vnd.openxmlformats-officedocument.presentationml.tags+xml"/>
  <Override PartName="/ppt/charts/chart133.xml" ContentType="application/vnd.openxmlformats-officedocument.drawingml.chart+xml"/>
  <Override PartName="/ppt/tags/tag166.xml" ContentType="application/vnd.openxmlformats-officedocument.presentationml.tags+xml"/>
  <Override PartName="/ppt/charts/chart134.xml" ContentType="application/vnd.openxmlformats-officedocument.drawingml.chart+xml"/>
  <Override PartName="/ppt/tags/tag167.xml" ContentType="application/vnd.openxmlformats-officedocument.presentationml.tags+xml"/>
  <Override PartName="/ppt/charts/chart135.xml" ContentType="application/vnd.openxmlformats-officedocument.drawingml.chart+xml"/>
  <Override PartName="/ppt/tags/tag168.xml" ContentType="application/vnd.openxmlformats-officedocument.presentationml.tags+xml"/>
  <Override PartName="/ppt/charts/chart136.xml" ContentType="application/vnd.openxmlformats-officedocument.drawingml.chart+xml"/>
  <Override PartName="/ppt/tags/tag169.xml" ContentType="application/vnd.openxmlformats-officedocument.presentationml.tags+xml"/>
  <Override PartName="/ppt/charts/chart137.xml" ContentType="application/vnd.openxmlformats-officedocument.drawingml.chart+xml"/>
  <Override PartName="/ppt/tags/tag170.xml" ContentType="application/vnd.openxmlformats-officedocument.presentationml.tags+xml"/>
  <Override PartName="/ppt/charts/chart138.xml" ContentType="application/vnd.openxmlformats-officedocument.drawingml.chart+xml"/>
  <Override PartName="/ppt/tags/tag171.xml" ContentType="application/vnd.openxmlformats-officedocument.presentationml.tags+xml"/>
  <Override PartName="/ppt/charts/chart139.xml" ContentType="application/vnd.openxmlformats-officedocument.drawingml.chart+xml"/>
  <Override PartName="/ppt/tags/tag172.xml" ContentType="application/vnd.openxmlformats-officedocument.presentationml.tags+xml"/>
  <Override PartName="/ppt/charts/chart140.xml" ContentType="application/vnd.openxmlformats-officedocument.drawingml.chart+xml"/>
  <Override PartName="/ppt/tags/tag173.xml" ContentType="application/vnd.openxmlformats-officedocument.presentationml.tags+xml"/>
  <Override PartName="/ppt/charts/chart141.xml" ContentType="application/vnd.openxmlformats-officedocument.drawingml.chart+xml"/>
  <Override PartName="/ppt/tags/tag174.xml" ContentType="application/vnd.openxmlformats-officedocument.presentationml.tags+xml"/>
  <Override PartName="/ppt/charts/chart142.xml" ContentType="application/vnd.openxmlformats-officedocument.drawingml.chart+xml"/>
  <Override PartName="/ppt/tags/tag175.xml" ContentType="application/vnd.openxmlformats-officedocument.presentationml.tags+xml"/>
  <Override PartName="/ppt/charts/chart143.xml" ContentType="application/vnd.openxmlformats-officedocument.drawingml.chart+xml"/>
  <Override PartName="/ppt/tags/tag176.xml" ContentType="application/vnd.openxmlformats-officedocument.presentationml.tags+xml"/>
  <Override PartName="/ppt/charts/chart144.xml" ContentType="application/vnd.openxmlformats-officedocument.drawingml.chart+xml"/>
  <Override PartName="/ppt/tags/tag177.xml" ContentType="application/vnd.openxmlformats-officedocument.presentationml.tags+xml"/>
  <Override PartName="/ppt/charts/chart145.xml" ContentType="application/vnd.openxmlformats-officedocument.drawingml.chart+xml"/>
  <Override PartName="/ppt/tags/tag178.xml" ContentType="application/vnd.openxmlformats-officedocument.presentationml.tags+xml"/>
  <Override PartName="/ppt/charts/chart146.xml" ContentType="application/vnd.openxmlformats-officedocument.drawingml.chart+xml"/>
  <Override PartName="/ppt/tags/tag179.xml" ContentType="application/vnd.openxmlformats-officedocument.presentationml.tags+xml"/>
  <Override PartName="/ppt/charts/chart147.xml" ContentType="application/vnd.openxmlformats-officedocument.drawingml.chart+xml"/>
  <Override PartName="/ppt/tags/tag180.xml" ContentType="application/vnd.openxmlformats-officedocument.presentationml.tags+xml"/>
  <Override PartName="/ppt/charts/chart148.xml" ContentType="application/vnd.openxmlformats-officedocument.drawingml.chart+xml"/>
  <Override PartName="/ppt/tags/tag181.xml" ContentType="application/vnd.openxmlformats-officedocument.presentationml.tags+xml"/>
  <Override PartName="/ppt/charts/chart149.xml" ContentType="application/vnd.openxmlformats-officedocument.drawingml.chart+xml"/>
  <Override PartName="/ppt/tags/tag182.xml" ContentType="application/vnd.openxmlformats-officedocument.presentationml.tags+xml"/>
  <Override PartName="/ppt/charts/chart150.xml" ContentType="application/vnd.openxmlformats-officedocument.drawingml.chart+xml"/>
  <Override PartName="/ppt/tags/tag183.xml" ContentType="application/vnd.openxmlformats-officedocument.presentationml.tags+xml"/>
  <Override PartName="/ppt/charts/chart151.xml" ContentType="application/vnd.openxmlformats-officedocument.drawingml.chart+xml"/>
  <Override PartName="/ppt/tags/tag184.xml" ContentType="application/vnd.openxmlformats-officedocument.presentationml.tags+xml"/>
  <Override PartName="/ppt/charts/chart152.xml" ContentType="application/vnd.openxmlformats-officedocument.drawingml.chart+xml"/>
  <Override PartName="/ppt/tags/tag185.xml" ContentType="application/vnd.openxmlformats-officedocument.presentationml.tags+xml"/>
  <Override PartName="/ppt/charts/chart153.xml" ContentType="application/vnd.openxmlformats-officedocument.drawingml.chart+xml"/>
  <Override PartName="/ppt/tags/tag186.xml" ContentType="application/vnd.openxmlformats-officedocument.presentationml.tags+xml"/>
  <Override PartName="/ppt/charts/chart154.xml" ContentType="application/vnd.openxmlformats-officedocument.drawingml.chart+xml"/>
  <Override PartName="/ppt/tags/tag187.xml" ContentType="application/vnd.openxmlformats-officedocument.presentationml.tags+xml"/>
  <Override PartName="/ppt/charts/chart155.xml" ContentType="application/vnd.openxmlformats-officedocument.drawingml.chart+xml"/>
  <Override PartName="/ppt/tags/tag188.xml" ContentType="application/vnd.openxmlformats-officedocument.presentationml.tags+xml"/>
  <Override PartName="/ppt/charts/chart156.xml" ContentType="application/vnd.openxmlformats-officedocument.drawingml.chart+xml"/>
  <Override PartName="/ppt/tags/tag189.xml" ContentType="application/vnd.openxmlformats-officedocument.presentationml.tags+xml"/>
  <Override PartName="/ppt/charts/chart157.xml" ContentType="application/vnd.openxmlformats-officedocument.drawingml.chart+xml"/>
  <Override PartName="/ppt/tags/tag190.xml" ContentType="application/vnd.openxmlformats-officedocument.presentationml.tags+xml"/>
  <Override PartName="/ppt/charts/chart158.xml" ContentType="application/vnd.openxmlformats-officedocument.drawingml.chart+xml"/>
  <Override PartName="/ppt/tags/tag191.xml" ContentType="application/vnd.openxmlformats-officedocument.presentationml.tags+xml"/>
  <Override PartName="/ppt/charts/chart159.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160.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161.xml" ContentType="application/vnd.openxmlformats-officedocument.drawingml.chart+xml"/>
  <Override PartName="/ppt/charts/style38.xml" ContentType="application/vnd.ms-office.chartstyle+xml"/>
  <Override PartName="/ppt/charts/colors38.xml" ContentType="application/vnd.ms-office.chartcolorstyle+xml"/>
  <Override PartName="/ppt/tags/tag192.xml" ContentType="application/vnd.openxmlformats-officedocument.presentationml.tags+xml"/>
  <Override PartName="/ppt/charts/chart162.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163.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164.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165.xml" ContentType="application/vnd.openxmlformats-officedocument.drawingml.chart+xml"/>
  <Override PartName="/ppt/charts/style42.xml" ContentType="application/vnd.ms-office.chartstyle+xml"/>
  <Override PartName="/ppt/charts/colors42.xml" ContentType="application/vnd.ms-office.chartcolorstyle+xml"/>
  <Override PartName="/ppt/tags/tag193.xml" ContentType="application/vnd.openxmlformats-officedocument.presentationml.tags+xml"/>
  <Override PartName="/ppt/charts/chart166.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167.xml" ContentType="application/vnd.openxmlformats-officedocument.drawingml.chart+xml"/>
  <Override PartName="/ppt/charts/style44.xml" ContentType="application/vnd.ms-office.chartstyle+xml"/>
  <Override PartName="/ppt/charts/colors44.xml" ContentType="application/vnd.ms-office.chartcolorstyle+xml"/>
  <Override PartName="/ppt/tags/tag194.xml" ContentType="application/vnd.openxmlformats-officedocument.presentationml.tags+xml"/>
  <Override PartName="/ppt/charts/chart168.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169.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170.xml" ContentType="application/vnd.openxmlformats-officedocument.drawingml.chart+xml"/>
  <Override PartName="/ppt/charts/style47.xml" ContentType="application/vnd.ms-office.chartstyle+xml"/>
  <Override PartName="/ppt/charts/colors47.xml" ContentType="application/vnd.ms-office.chartcolorstyle+xml"/>
  <Override PartName="/ppt/tags/tag195.xml" ContentType="application/vnd.openxmlformats-officedocument.presentationml.tags+xml"/>
  <Override PartName="/ppt/charts/chart171.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172.xml" ContentType="application/vnd.openxmlformats-officedocument.drawingml.chart+xml"/>
  <Override PartName="/ppt/charts/style49.xml" ContentType="application/vnd.ms-office.chartstyle+xml"/>
  <Override PartName="/ppt/charts/colors49.xml" ContentType="application/vnd.ms-office.chartcolorstyle+xml"/>
  <Override PartName="/ppt/tags/tag196.xml" ContentType="application/vnd.openxmlformats-officedocument.presentationml.tags+xml"/>
  <Override PartName="/ppt/charts/chart173.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174.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175.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176.xml" ContentType="application/vnd.openxmlformats-officedocument.drawingml.chart+xml"/>
  <Override PartName="/ppt/charts/style53.xml" ContentType="application/vnd.ms-office.chartstyle+xml"/>
  <Override PartName="/ppt/charts/colors53.xml" ContentType="application/vnd.ms-office.chartcolorstyle+xml"/>
  <Override PartName="/ppt/tags/tag197.xml" ContentType="application/vnd.openxmlformats-officedocument.presentationml.tags+xml"/>
  <Override PartName="/ppt/charts/chart177.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178.xml" ContentType="application/vnd.openxmlformats-officedocument.drawingml.chart+xml"/>
  <Override PartName="/ppt/charts/style55.xml" ContentType="application/vnd.ms-office.chartstyle+xml"/>
  <Override PartName="/ppt/charts/colors55.xml" ContentType="application/vnd.ms-office.chartcolorstyle+xml"/>
  <Override PartName="/ppt/tags/tag198.xml" ContentType="application/vnd.openxmlformats-officedocument.presentationml.tags+xml"/>
  <Override PartName="/ppt/charts/chart179.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180.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181.xml" ContentType="application/vnd.openxmlformats-officedocument.drawingml.chart+xml"/>
  <Override PartName="/ppt/charts/style58.xml" ContentType="application/vnd.ms-office.chartstyle+xml"/>
  <Override PartName="/ppt/charts/colors58.xml" ContentType="application/vnd.ms-office.chartcolorstyle+xml"/>
  <Override PartName="/ppt/tags/tag199.xml" ContentType="application/vnd.openxmlformats-officedocument.presentationml.tags+xml"/>
  <Override PartName="/ppt/charts/chart18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183.xml" ContentType="application/vnd.openxmlformats-officedocument.drawingml.chart+xml"/>
  <Override PartName="/ppt/charts/style60.xml" ContentType="application/vnd.ms-office.chartstyle+xml"/>
  <Override PartName="/ppt/charts/colors60.xml" ContentType="application/vnd.ms-office.chartcolorstyle+xml"/>
  <Override PartName="/ppt/tags/tag200.xml" ContentType="application/vnd.openxmlformats-officedocument.presentationml.tags+xml"/>
  <Override PartName="/ppt/charts/chart184.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185.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186.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187.xml" ContentType="application/vnd.openxmlformats-officedocument.drawingml.chart+xml"/>
  <Override PartName="/ppt/charts/style64.xml" ContentType="application/vnd.ms-office.chartstyle+xml"/>
  <Override PartName="/ppt/charts/colors64.xml" ContentType="application/vnd.ms-office.chartcolorstyle+xml"/>
  <Override PartName="/ppt/tags/tag201.xml" ContentType="application/vnd.openxmlformats-officedocument.presentationml.tags+xml"/>
  <Override PartName="/ppt/charts/chart188.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189.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190.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191.xml" ContentType="application/vnd.openxmlformats-officedocument.drawingml.chart+xml"/>
  <Override PartName="/ppt/charts/style68.xml" ContentType="application/vnd.ms-office.chartstyle+xml"/>
  <Override PartName="/ppt/charts/colors68.xml" ContentType="application/vnd.ms-office.chartcolorstyle+xml"/>
  <Override PartName="/ppt/tags/tag202.xml" ContentType="application/vnd.openxmlformats-officedocument.presentationml.tags+xml"/>
  <Override PartName="/ppt/charts/chart192.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193.xml" ContentType="application/vnd.openxmlformats-officedocument.drawingml.chart+xml"/>
  <Override PartName="/ppt/tags/tag203.xml" ContentType="application/vnd.openxmlformats-officedocument.presentationml.tags+xml"/>
  <Override PartName="/ppt/charts/chart194.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195.xml" ContentType="application/vnd.openxmlformats-officedocument.drawingml.chart+xml"/>
  <Override PartName="/ppt/tags/tag204.xml" ContentType="application/vnd.openxmlformats-officedocument.presentationml.tags+xml"/>
  <Override PartName="/ppt/charts/chart196.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197.xml" ContentType="application/vnd.openxmlformats-officedocument.drawingml.chart+xml"/>
  <Override PartName="/ppt/tags/tag205.xml" ContentType="application/vnd.openxmlformats-officedocument.presentationml.tags+xml"/>
  <Override PartName="/ppt/charts/chart198.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199.xml" ContentType="application/vnd.openxmlformats-officedocument.drawingml.chart+xml"/>
  <Override PartName="/ppt/tags/tag206.xml" ContentType="application/vnd.openxmlformats-officedocument.presentationml.tags+xml"/>
  <Override PartName="/ppt/charts/chart200.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201.xml" ContentType="application/vnd.openxmlformats-officedocument.drawingml.chart+xml"/>
  <Override PartName="/ppt/tags/tag207.xml" ContentType="application/vnd.openxmlformats-officedocument.presentationml.tags+xml"/>
  <Override PartName="/ppt/charts/chart20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203.xml" ContentType="application/vnd.openxmlformats-officedocument.drawingml.chart+xml"/>
  <Override PartName="/ppt/tags/tag208.xml" ContentType="application/vnd.openxmlformats-officedocument.presentationml.tags+xml"/>
  <Override PartName="/ppt/charts/chart204.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205.xml" ContentType="application/vnd.openxmlformats-officedocument.drawingml.chart+xml"/>
  <Override PartName="/ppt/tags/tag209.xml" ContentType="application/vnd.openxmlformats-officedocument.presentationml.tags+xml"/>
  <Override PartName="/ppt/charts/chart206.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207.xml" ContentType="application/vnd.openxmlformats-officedocument.drawingml.chart+xml"/>
  <Override PartName="/ppt/tags/tag210.xml" ContentType="application/vnd.openxmlformats-officedocument.presentationml.tags+xml"/>
  <Override PartName="/ppt/charts/chart208.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209.xml" ContentType="application/vnd.openxmlformats-officedocument.drawingml.chart+xml"/>
  <Override PartName="/ppt/tags/tag211.xml" ContentType="application/vnd.openxmlformats-officedocument.presentationml.tags+xml"/>
  <Override PartName="/ppt/charts/chart210.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211.xml" ContentType="application/vnd.openxmlformats-officedocument.drawingml.chart+xml"/>
  <Override PartName="/ppt/tags/tag212.xml" ContentType="application/vnd.openxmlformats-officedocument.presentationml.tags+xml"/>
  <Override PartName="/ppt/charts/chart212.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213.xml" ContentType="application/vnd.openxmlformats-officedocument.drawingml.chart+xml"/>
  <Override PartName="/ppt/tags/tag213.xml" ContentType="application/vnd.openxmlformats-officedocument.presentationml.tags+xml"/>
  <Override PartName="/ppt/charts/chart214.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215.xml" ContentType="application/vnd.openxmlformats-officedocument.drawingml.chart+xml"/>
  <Override PartName="/ppt/tags/tag214.xml" ContentType="application/vnd.openxmlformats-officedocument.presentationml.tags+xml"/>
  <Override PartName="/ppt/charts/chart216.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217.xml" ContentType="application/vnd.openxmlformats-officedocument.drawingml.chart+xml"/>
  <Override PartName="/ppt/tags/tag215.xml" ContentType="application/vnd.openxmlformats-officedocument.presentationml.tags+xml"/>
  <Override PartName="/ppt/charts/chart218.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219.xml" ContentType="application/vnd.openxmlformats-officedocument.drawingml.chart+xml"/>
  <Override PartName="/ppt/tags/tag216.xml" ContentType="application/vnd.openxmlformats-officedocument.presentationml.tags+xml"/>
  <Override PartName="/ppt/charts/chart220.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221.xml" ContentType="application/vnd.openxmlformats-officedocument.drawingml.chart+xml"/>
  <Override PartName="/ppt/tags/tag217.xml" ContentType="application/vnd.openxmlformats-officedocument.presentationml.tags+xml"/>
  <Override PartName="/ppt/charts/chart222.xml" ContentType="application/vnd.openxmlformats-officedocument.drawingml.chart+xml"/>
  <Override PartName="/ppt/charts/style84.xml" ContentType="application/vnd.ms-office.chartstyle+xml"/>
  <Override PartName="/ppt/charts/colors84.xml" ContentType="application/vnd.ms-office.chartcolorstyle+xml"/>
  <Override PartName="/ppt/charts/chart223.xml" ContentType="application/vnd.openxmlformats-officedocument.drawingml.chart+xml"/>
  <Override PartName="/ppt/tags/tag218.xml" ContentType="application/vnd.openxmlformats-officedocument.presentationml.tags+xml"/>
  <Override PartName="/ppt/charts/chart224.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225.xml" ContentType="application/vnd.openxmlformats-officedocument.drawingml.chart+xml"/>
  <Override PartName="/ppt/tags/tag219.xml" ContentType="application/vnd.openxmlformats-officedocument.presentationml.tags+xml"/>
  <Override PartName="/ppt/charts/chart226.xml" ContentType="application/vnd.openxmlformats-officedocument.drawingml.chart+xml"/>
  <Override PartName="/ppt/charts/style86.xml" ContentType="application/vnd.ms-office.chartstyle+xml"/>
  <Override PartName="/ppt/charts/colors86.xml" ContentType="application/vnd.ms-office.chartcolorstyle+xml"/>
  <Override PartName="/ppt/charts/chart227.xml" ContentType="application/vnd.openxmlformats-officedocument.drawingml.chart+xml"/>
  <Override PartName="/ppt/tags/tag220.xml" ContentType="application/vnd.openxmlformats-officedocument.presentationml.tags+xml"/>
  <Override PartName="/ppt/charts/chart228.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229.xml" ContentType="application/vnd.openxmlformats-officedocument.drawingml.chart+xml"/>
  <Override PartName="/ppt/tags/tag221.xml" ContentType="application/vnd.openxmlformats-officedocument.presentationml.tags+xml"/>
  <Override PartName="/ppt/charts/chart230.xml" ContentType="application/vnd.openxmlformats-officedocument.drawingml.chart+xml"/>
  <Override PartName="/ppt/charts/style88.xml" ContentType="application/vnd.ms-office.chartstyle+xml"/>
  <Override PartName="/ppt/charts/colors88.xml" ContentType="application/vnd.ms-office.chartcolorstyle+xml"/>
  <Override PartName="/ppt/charts/chart231.xml" ContentType="application/vnd.openxmlformats-officedocument.drawingml.chart+xml"/>
  <Override PartName="/ppt/tags/tag222.xml" ContentType="application/vnd.openxmlformats-officedocument.presentationml.tags+xml"/>
  <Override PartName="/ppt/charts/chart232.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233.xml" ContentType="application/vnd.openxmlformats-officedocument.drawingml.chart+xml"/>
  <Override PartName="/ppt/tags/tag223.xml" ContentType="application/vnd.openxmlformats-officedocument.presentationml.tags+xml"/>
  <Override PartName="/ppt/charts/chart234.xml" ContentType="application/vnd.openxmlformats-officedocument.drawingml.chart+xml"/>
  <Override PartName="/ppt/charts/style90.xml" ContentType="application/vnd.ms-office.chartstyle+xml"/>
  <Override PartName="/ppt/charts/colors90.xml" ContentType="application/vnd.ms-office.chartcolorstyle+xml"/>
  <Override PartName="/ppt/charts/chart235.xml" ContentType="application/vnd.openxmlformats-officedocument.drawingml.chart+xml"/>
  <Override PartName="/ppt/tags/tag224.xml" ContentType="application/vnd.openxmlformats-officedocument.presentationml.tags+xml"/>
  <Override PartName="/ppt/charts/chart236.xml" ContentType="application/vnd.openxmlformats-officedocument.drawingml.chart+xml"/>
  <Override PartName="/ppt/tags/tag225.xml" ContentType="application/vnd.openxmlformats-officedocument.presentationml.tags+xml"/>
  <Override PartName="/ppt/charts/chart237.xml" ContentType="application/vnd.openxmlformats-officedocument.drawingml.chart+xml"/>
  <Override PartName="/ppt/tags/tag226.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tags/tag227.xml" ContentType="application/vnd.openxmlformats-officedocument.presentationml.tags+xml"/>
  <Override PartName="/ppt/charts/chart240.xml" ContentType="application/vnd.openxmlformats-officedocument.drawingml.chart+xml"/>
  <Override PartName="/ppt/charts/chart241.xml" ContentType="application/vnd.openxmlformats-officedocument.drawingml.chart+xml"/>
  <Override PartName="/ppt/tags/tag228.xml" ContentType="application/vnd.openxmlformats-officedocument.presentationml.tags+xml"/>
  <Override PartName="/ppt/charts/chart242.xml" ContentType="application/vnd.openxmlformats-officedocument.drawingml.chart+xml"/>
  <Override PartName="/ppt/tags/tag229.xml" ContentType="application/vnd.openxmlformats-officedocument.presentationml.tags+xml"/>
  <Override PartName="/ppt/charts/chart243.xml" ContentType="application/vnd.openxmlformats-officedocument.drawingml.chart+xml"/>
  <Override PartName="/ppt/tags/tag230.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tags/tag231.xml" ContentType="application/vnd.openxmlformats-officedocument.presentationml.tags+xml"/>
  <Override PartName="/ppt/charts/chart246.xml" ContentType="application/vnd.openxmlformats-officedocument.drawingml.chart+xml"/>
  <Override PartName="/ppt/charts/chart247.xml" ContentType="application/vnd.openxmlformats-officedocument.drawingml.chart+xml"/>
  <Override PartName="/ppt/tags/tag232.xml" ContentType="application/vnd.openxmlformats-officedocument.presentationml.tags+xml"/>
  <Override PartName="/ppt/notesSlides/notesSlide73.xml" ContentType="application/vnd.openxmlformats-officedocument.presentationml.notesSlide+xml"/>
  <Override PartName="/ppt/charts/chart248.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249.xml" ContentType="application/vnd.openxmlformats-officedocument.drawingml.chart+xml"/>
  <Override PartName="/ppt/charts/style92.xml" ContentType="application/vnd.ms-office.chartstyle+xml"/>
  <Override PartName="/ppt/charts/colors92.xml" ContentType="application/vnd.ms-office.chartcolorstyle+xml"/>
  <Override PartName="/ppt/charts/chart250.xml" ContentType="application/vnd.openxmlformats-officedocument.drawingml.chart+xml"/>
  <Override PartName="/ppt/charts/style93.xml" ContentType="application/vnd.ms-office.chartstyle+xml"/>
  <Override PartName="/ppt/charts/colors93.xml" ContentType="application/vnd.ms-office.chartcolorstyle+xml"/>
  <Override PartName="/ppt/tags/tag233.xml" ContentType="application/vnd.openxmlformats-officedocument.presentationml.tags+xml"/>
  <Override PartName="/ppt/notesSlides/notesSlide74.xml" ContentType="application/vnd.openxmlformats-officedocument.presentationml.notesSlide+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style94.xml" ContentType="application/vnd.ms-office.chartstyle+xml"/>
  <Override PartName="/ppt/charts/colors94.xml" ContentType="application/vnd.ms-office.chartcolorstyle+xml"/>
  <Override PartName="/ppt/tags/tag234.xml" ContentType="application/vnd.openxmlformats-officedocument.presentationml.tags+xml"/>
  <Override PartName="/ppt/notesSlides/notesSlide75.xml" ContentType="application/vnd.openxmlformats-officedocument.presentationml.notesSlide+xml"/>
  <Override PartName="/ppt/charts/chart254.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255.xml" ContentType="application/vnd.openxmlformats-officedocument.drawingml.chart+xml"/>
  <Override PartName="/ppt/charts/style96.xml" ContentType="application/vnd.ms-office.chartstyle+xml"/>
  <Override PartName="/ppt/charts/colors96.xml" ContentType="application/vnd.ms-office.chartcolorstyle+xml"/>
  <Override PartName="/ppt/tags/tag235.xml" ContentType="application/vnd.openxmlformats-officedocument.presentationml.tags+xml"/>
  <Override PartName="/ppt/notesSlides/notesSlide76.xml" ContentType="application/vnd.openxmlformats-officedocument.presentationml.notesSlide+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style97.xml" ContentType="application/vnd.ms-office.chartstyle+xml"/>
  <Override PartName="/ppt/charts/colors97.xml" ContentType="application/vnd.ms-office.chartcolorstyle+xml"/>
  <Override PartName="/ppt/tags/tag236.xml" ContentType="application/vnd.openxmlformats-officedocument.presentationml.tags+xml"/>
  <Override PartName="/ppt/notesSlides/notesSlide77.xml" ContentType="application/vnd.openxmlformats-officedocument.presentationml.notesSlide+xml"/>
  <Override PartName="/ppt/charts/chart259.xml" ContentType="application/vnd.openxmlformats-officedocument.drawingml.chart+xml"/>
  <Override PartName="/ppt/charts/style98.xml" ContentType="application/vnd.ms-office.chartstyle+xml"/>
  <Override PartName="/ppt/charts/colors98.xml" ContentType="application/vnd.ms-office.chartcolorstyle+xml"/>
  <Override PartName="/ppt/charts/chart260.xml" ContentType="application/vnd.openxmlformats-officedocument.drawingml.chart+xml"/>
  <Override PartName="/ppt/charts/style99.xml" ContentType="application/vnd.ms-office.chartstyle+xml"/>
  <Override PartName="/ppt/charts/colors99.xml" ContentType="application/vnd.ms-office.chartcolorstyle+xml"/>
  <Override PartName="/ppt/tags/tag237.xml" ContentType="application/vnd.openxmlformats-officedocument.presentationml.tags+xml"/>
  <Override PartName="/ppt/notesSlides/notesSlide78.xml" ContentType="application/vnd.openxmlformats-officedocument.presentationml.notesSlide+xml"/>
  <Override PartName="/ppt/charts/chart261.xml" ContentType="application/vnd.openxmlformats-officedocument.drawingml.chart+xml"/>
  <Override PartName="/ppt/charts/style100.xml" ContentType="application/vnd.ms-office.chartstyle+xml"/>
  <Override PartName="/ppt/charts/colors100.xml" ContentType="application/vnd.ms-office.chartcolorstyle+xml"/>
  <Override PartName="/ppt/charts/chart262.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263.xml" ContentType="application/vnd.openxmlformats-officedocument.drawingml.chart+xml"/>
  <Override PartName="/ppt/charts/style102.xml" ContentType="application/vnd.ms-office.chartstyle+xml"/>
  <Override PartName="/ppt/charts/colors102.xml" ContentType="application/vnd.ms-office.chartcolorstyle+xml"/>
  <Override PartName="/ppt/charts/chart264.xml" ContentType="application/vnd.openxmlformats-officedocument.drawingml.chart+xml"/>
  <Override PartName="/ppt/charts/style103.xml" ContentType="application/vnd.ms-office.chartstyle+xml"/>
  <Override PartName="/ppt/charts/colors103.xml" ContentType="application/vnd.ms-office.chartcolorstyle+xml"/>
  <Override PartName="/ppt/tags/tag238.xml" ContentType="application/vnd.openxmlformats-officedocument.presentationml.tags+xml"/>
  <Override PartName="/ppt/notesSlides/notesSlide79.xml" ContentType="application/vnd.openxmlformats-officedocument.presentationml.notesSlide+xml"/>
  <Override PartName="/ppt/charts/chart265.xml" ContentType="application/vnd.openxmlformats-officedocument.drawingml.chart+xml"/>
  <Override PartName="/ppt/charts/style104.xml" ContentType="application/vnd.ms-office.chartstyle+xml"/>
  <Override PartName="/ppt/charts/colors104.xml" ContentType="application/vnd.ms-office.chartcolorstyle+xml"/>
  <Override PartName="/ppt/charts/chart266.xml" ContentType="application/vnd.openxmlformats-officedocument.drawingml.chart+xml"/>
  <Override PartName="/ppt/charts/style105.xml" ContentType="application/vnd.ms-office.chartstyle+xml"/>
  <Override PartName="/ppt/charts/colors105.xml" ContentType="application/vnd.ms-office.chartcolorstyle+xml"/>
  <Override PartName="/ppt/tags/tag239.xml" ContentType="application/vnd.openxmlformats-officedocument.presentationml.tags+xml"/>
  <Override PartName="/ppt/notesSlides/notesSlide80.xml" ContentType="application/vnd.openxmlformats-officedocument.presentationml.notesSlide+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style106.xml" ContentType="application/vnd.ms-office.chartstyle+xml"/>
  <Override PartName="/ppt/charts/colors106.xml" ContentType="application/vnd.ms-office.chartcolorstyle+xml"/>
  <Override PartName="/ppt/tags/tag240.xml" ContentType="application/vnd.openxmlformats-officedocument.presentationml.tags+xml"/>
  <Override PartName="/ppt/notesSlides/notesSlide81.xml" ContentType="application/vnd.openxmlformats-officedocument.presentationml.notesSlide+xml"/>
  <Override PartName="/ppt/charts/chart270.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271.xml" ContentType="application/vnd.openxmlformats-officedocument.drawingml.chart+xml"/>
  <Override PartName="/ppt/charts/style108.xml" ContentType="application/vnd.ms-office.chartstyle+xml"/>
  <Override PartName="/ppt/charts/colors108.xml" ContentType="application/vnd.ms-office.chartcolorstyle+xml"/>
  <Override PartName="/ppt/tags/tag241.xml" ContentType="application/vnd.openxmlformats-officedocument.presentationml.tags+xml"/>
  <Override PartName="/ppt/notesSlides/notesSlide82.xml" ContentType="application/vnd.openxmlformats-officedocument.presentationml.notesSlide+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style109.xml" ContentType="application/vnd.ms-office.chartstyle+xml"/>
  <Override PartName="/ppt/charts/colors109.xml" ContentType="application/vnd.ms-office.chartcolorstyle+xml"/>
  <Override PartName="/ppt/tags/tag242.xml" ContentType="application/vnd.openxmlformats-officedocument.presentationml.tags+xml"/>
  <Override PartName="/ppt/notesSlides/notesSlide83.xml" ContentType="application/vnd.openxmlformats-officedocument.presentationml.notesSlide+xml"/>
  <Override PartName="/ppt/charts/chart275.xml" ContentType="application/vnd.openxmlformats-officedocument.drawingml.chart+xml"/>
  <Override PartName="/ppt/charts/style110.xml" ContentType="application/vnd.ms-office.chartstyle+xml"/>
  <Override PartName="/ppt/charts/colors110.xml" ContentType="application/vnd.ms-office.chartcolorstyle+xml"/>
  <Override PartName="/ppt/charts/chart276.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277.xml" ContentType="application/vnd.openxmlformats-officedocument.drawingml.chart+xml"/>
  <Override PartName="/ppt/charts/style112.xml" ContentType="application/vnd.ms-office.chartstyle+xml"/>
  <Override PartName="/ppt/charts/colors112.xml" ContentType="application/vnd.ms-office.chartcolorstyle+xml"/>
  <Override PartName="/ppt/charts/chart278.xml" ContentType="application/vnd.openxmlformats-officedocument.drawingml.chart+xml"/>
  <Override PartName="/ppt/charts/style113.xml" ContentType="application/vnd.ms-office.chartstyle+xml"/>
  <Override PartName="/ppt/charts/colors113.xml" ContentType="application/vnd.ms-office.chartcolorstyle+xml"/>
  <Override PartName="/ppt/tags/tag243.xml" ContentType="application/vnd.openxmlformats-officedocument.presentationml.tags+xml"/>
  <Override PartName="/ppt/notesSlides/notesSlide84.xml" ContentType="application/vnd.openxmlformats-officedocument.presentationml.notesSlide+xml"/>
  <Override PartName="/ppt/charts/chart279.xml" ContentType="application/vnd.openxmlformats-officedocument.drawingml.chart+xml"/>
  <Override PartName="/ppt/charts/chart280.xml" ContentType="application/vnd.openxmlformats-officedocument.drawingml.chart+xml"/>
  <Override PartName="/ppt/tags/tag244.xml" ContentType="application/vnd.openxmlformats-officedocument.presentationml.tags+xml"/>
  <Override PartName="/ppt/notesSlides/notesSlide85.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245.xml" ContentType="application/vnd.openxmlformats-officedocument.presentationml.tags+xml"/>
  <Override PartName="/ppt/notesSlides/notesSlide86.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tags/tag246.xml" ContentType="application/vnd.openxmlformats-officedocument.presentationml.tags+xml"/>
  <Override PartName="/ppt/notesSlides/notesSlide87.xml" ContentType="application/vnd.openxmlformats-officedocument.presentationml.notesSlide+xml"/>
  <Override PartName="/ppt/charts/chart285.xml" ContentType="application/vnd.openxmlformats-officedocument.drawingml.chart+xml"/>
  <Override PartName="/ppt/charts/chart286.xml" ContentType="application/vnd.openxmlformats-officedocument.drawingml.chart+xml"/>
  <Override PartName="/ppt/tags/tag247.xml" ContentType="application/vnd.openxmlformats-officedocument.presentationml.tags+xml"/>
  <Override PartName="/ppt/notesSlides/notesSlide88.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tags/tag248.xml" ContentType="application/vnd.openxmlformats-officedocument.presentationml.tags+xml"/>
  <Override PartName="/ppt/notesSlides/notesSlide89.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tags/tag249.xml" ContentType="application/vnd.openxmlformats-officedocument.presentationml.tags+xml"/>
  <Override PartName="/ppt/notesSlides/notesSlide90.xml" ContentType="application/vnd.openxmlformats-officedocument.presentationml.notesSlide+xml"/>
  <Override PartName="/ppt/charts/chart291.xml" ContentType="application/vnd.openxmlformats-officedocument.drawingml.chart+xml"/>
  <Override PartName="/ppt/charts/chart292.xml" ContentType="application/vnd.openxmlformats-officedocument.drawingml.chart+xml"/>
  <Override PartName="/ppt/tags/tag250.xml" ContentType="application/vnd.openxmlformats-officedocument.presentationml.tags+xml"/>
  <Override PartName="/ppt/notesSlides/notesSlide91.xml" ContentType="application/vnd.openxmlformats-officedocument.presentationml.notesSlide+xml"/>
  <Override PartName="/ppt/charts/chart293.xml" ContentType="application/vnd.openxmlformats-officedocument.drawingml.chart+xml"/>
  <Override PartName="/ppt/charts/chart294.xml" ContentType="application/vnd.openxmlformats-officedocument.drawingml.chart+xml"/>
  <Override PartName="/ppt/tags/tag251.xml" ContentType="application/vnd.openxmlformats-officedocument.presentationml.tags+xml"/>
  <Override PartName="/ppt/notesSlides/notesSlide92.xml" ContentType="application/vnd.openxmlformats-officedocument.presentationml.notesSlide+xml"/>
  <Override PartName="/ppt/charts/chart295.xml" ContentType="application/vnd.openxmlformats-officedocument.drawingml.chart+xml"/>
  <Override PartName="/ppt/charts/chart296.xml" ContentType="application/vnd.openxmlformats-officedocument.drawingml.chart+xml"/>
  <Override PartName="/ppt/tags/tag252.xml" ContentType="application/vnd.openxmlformats-officedocument.presentationml.tags+xml"/>
  <Override PartName="/ppt/notesSlides/notesSlide93.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tags/tag253.xml" ContentType="application/vnd.openxmlformats-officedocument.presentationml.tags+xml"/>
  <Override PartName="/ppt/notesSlides/notesSlide94.xml" ContentType="application/vnd.openxmlformats-officedocument.presentationml.notesSlide+xml"/>
  <Override PartName="/ppt/charts/chart299.xml" ContentType="application/vnd.openxmlformats-officedocument.drawingml.chart+xml"/>
  <Override PartName="/ppt/charts/chart300.xml" ContentType="application/vnd.openxmlformats-officedocument.drawingml.chart+xml"/>
  <Override PartName="/ppt/tags/tag254.xml" ContentType="application/vnd.openxmlformats-officedocument.presentationml.tags+xml"/>
  <Override PartName="/ppt/notesSlides/notesSlide95.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tags/tag255.xml" ContentType="application/vnd.openxmlformats-officedocument.presentationml.tags+xml"/>
  <Override PartName="/ppt/notesSlides/notesSlide96.xml" ContentType="application/vnd.openxmlformats-officedocument.presentationml.notesSlide+xml"/>
  <Override PartName="/ppt/tags/tag256.xml" ContentType="application/vnd.openxmlformats-officedocument.presentationml.tags+xml"/>
  <Override PartName="/ppt/notesSlides/notesSlide97.xml" ContentType="application/vnd.openxmlformats-officedocument.presentationml.notesSlide+xml"/>
  <Override PartName="/ppt/tags/tag257.xml" ContentType="application/vnd.openxmlformats-officedocument.presentationml.tags+xml"/>
  <Override PartName="/ppt/notesSlides/notesSlide98.xml" ContentType="application/vnd.openxmlformats-officedocument.presentationml.notesSlide+xml"/>
  <Override PartName="/ppt/tags/tag258.xml" ContentType="application/vnd.openxmlformats-officedocument.presentationml.tags+xml"/>
  <Override PartName="/ppt/notesSlides/notesSlide99.xml" ContentType="application/vnd.openxmlformats-officedocument.presentationml.notesSlide+xml"/>
  <Override PartName="/ppt/tags/tag259.xml" ContentType="application/vnd.openxmlformats-officedocument.presentationml.tags+xml"/>
  <Override PartName="/ppt/notesSlides/notesSlide100.xml" ContentType="application/vnd.openxmlformats-officedocument.presentationml.notesSlide+xml"/>
  <Override PartName="/ppt/charts/chart303.xml" ContentType="application/vnd.openxmlformats-officedocument.drawingml.chart+xml"/>
  <Override PartName="/ppt/charts/style114.xml" ContentType="application/vnd.ms-office.chartstyle+xml"/>
  <Override PartName="/ppt/charts/colors114.xml" ContentType="application/vnd.ms-office.chartcolorstyle+xml"/>
  <Override PartName="/ppt/tags/tag260.xml" ContentType="application/vnd.openxmlformats-officedocument.presentationml.tags+xml"/>
  <Override PartName="/ppt/notesSlides/notesSlide101.xml" ContentType="application/vnd.openxmlformats-officedocument.presentationml.notesSlide+xml"/>
  <Override PartName="/ppt/charts/chart304.xml" ContentType="application/vnd.openxmlformats-officedocument.drawingml.chart+xml"/>
  <Override PartName="/ppt/charts/style115.xml" ContentType="application/vnd.ms-office.chartstyle+xml"/>
  <Override PartName="/ppt/charts/colors115.xml" ContentType="application/vnd.ms-office.chartcolorstyle+xml"/>
  <Override PartName="/ppt/tags/tag261.xml" ContentType="application/vnd.openxmlformats-officedocument.presentationml.tags+xml"/>
  <Override PartName="/ppt/notesSlides/notesSlide102.xml" ContentType="application/vnd.openxmlformats-officedocument.presentationml.notesSlide+xml"/>
  <Override PartName="/ppt/charts/chart305.xml" ContentType="application/vnd.openxmlformats-officedocument.drawingml.chart+xml"/>
  <Override PartName="/ppt/charts/style116.xml" ContentType="application/vnd.ms-office.chartstyle+xml"/>
  <Override PartName="/ppt/charts/colors116.xml" ContentType="application/vnd.ms-office.chartcolorstyle+xml"/>
  <Override PartName="/ppt/tags/tag262.xml" ContentType="application/vnd.openxmlformats-officedocument.presentationml.tags+xml"/>
  <Override PartName="/ppt/notesSlides/notesSlide103.xml" ContentType="application/vnd.openxmlformats-officedocument.presentationml.notesSlide+xml"/>
  <Override PartName="/ppt/charts/chart306.xml" ContentType="application/vnd.openxmlformats-officedocument.drawingml.chart+xml"/>
  <Override PartName="/ppt/charts/style117.xml" ContentType="application/vnd.ms-office.chartstyle+xml"/>
  <Override PartName="/ppt/charts/colors117.xml" ContentType="application/vnd.ms-office.chartcolorstyle+xml"/>
  <Override PartName="/ppt/tags/tag263.xml" ContentType="application/vnd.openxmlformats-officedocument.presentationml.tags+xml"/>
  <Override PartName="/ppt/notesSlides/notesSlide104.xml" ContentType="application/vnd.openxmlformats-officedocument.presentationml.notesSlide+xml"/>
  <Override PartName="/ppt/charts/chart307.xml" ContentType="application/vnd.openxmlformats-officedocument.drawingml.chart+xml"/>
  <Override PartName="/ppt/charts/style118.xml" ContentType="application/vnd.ms-office.chartstyle+xml"/>
  <Override PartName="/ppt/charts/colors118.xml" ContentType="application/vnd.ms-office.chartcolorstyle+xml"/>
  <Override PartName="/ppt/tags/tag264.xml" ContentType="application/vnd.openxmlformats-officedocument.presentationml.tags+xml"/>
  <Override PartName="/ppt/notesSlides/notesSlide105.xml" ContentType="application/vnd.openxmlformats-officedocument.presentationml.notesSlide+xml"/>
  <Override PartName="/ppt/charts/chart308.xml" ContentType="application/vnd.openxmlformats-officedocument.drawingml.chart+xml"/>
  <Override PartName="/ppt/charts/style119.xml" ContentType="application/vnd.ms-office.chartstyle+xml"/>
  <Override PartName="/ppt/charts/colors119.xml" ContentType="application/vnd.ms-office.chartcolorstyle+xml"/>
  <Override PartName="/ppt/tags/tag265.xml" ContentType="application/vnd.openxmlformats-officedocument.presentationml.tags+xml"/>
  <Override PartName="/ppt/charts/chart309.xml" ContentType="application/vnd.openxmlformats-officedocument.drawingml.chart+xml"/>
  <Override PartName="/ppt/tags/tag266.xml" ContentType="application/vnd.openxmlformats-officedocument.presentationml.tags+xml"/>
  <Override PartName="/ppt/charts/chart310.xml" ContentType="application/vnd.openxmlformats-officedocument.drawingml.chart+xml"/>
  <Override PartName="/ppt/tags/tag267.xml" ContentType="application/vnd.openxmlformats-officedocument.presentationml.tags+xml"/>
  <Override PartName="/ppt/charts/chart311.xml" ContentType="application/vnd.openxmlformats-officedocument.drawingml.chart+xml"/>
  <Override PartName="/ppt/tags/tag268.xml" ContentType="application/vnd.openxmlformats-officedocument.presentationml.tags+xml"/>
  <Override PartName="/ppt/charts/chart312.xml" ContentType="application/vnd.openxmlformats-officedocument.drawingml.chart+xml"/>
  <Override PartName="/ppt/tags/tag269.xml" ContentType="application/vnd.openxmlformats-officedocument.presentationml.tags+xml"/>
  <Override PartName="/ppt/charts/chart313.xml" ContentType="application/vnd.openxmlformats-officedocument.drawingml.chart+xml"/>
  <Override PartName="/ppt/tags/tag270.xml" ContentType="application/vnd.openxmlformats-officedocument.presentationml.tags+xml"/>
  <Override PartName="/ppt/charts/chart314.xml" ContentType="application/vnd.openxmlformats-officedocument.drawingml.chart+xml"/>
  <Override PartName="/ppt/tags/tag271.xml" ContentType="application/vnd.openxmlformats-officedocument.presentationml.tags+xml"/>
  <Override PartName="/ppt/charts/chart315.xml" ContentType="application/vnd.openxmlformats-officedocument.drawingml.chart+xml"/>
  <Override PartName="/ppt/tags/tag272.xml" ContentType="application/vnd.openxmlformats-officedocument.presentationml.tags+xml"/>
  <Override PartName="/ppt/charts/chart316.xml" ContentType="application/vnd.openxmlformats-officedocument.drawingml.chart+xml"/>
  <Override PartName="/ppt/tags/tag273.xml" ContentType="application/vnd.openxmlformats-officedocument.presentationml.tags+xml"/>
  <Override PartName="/ppt/charts/chart317.xml" ContentType="application/vnd.openxmlformats-officedocument.drawingml.chart+xml"/>
  <Override PartName="/ppt/tags/tag274.xml" ContentType="application/vnd.openxmlformats-officedocument.presentationml.tags+xml"/>
  <Override PartName="/ppt/charts/chart318.xml" ContentType="application/vnd.openxmlformats-officedocument.drawingml.chart+xml"/>
  <Override PartName="/ppt/tags/tag275.xml" ContentType="application/vnd.openxmlformats-officedocument.presentationml.tags+xml"/>
  <Override PartName="/ppt/charts/chart319.xml" ContentType="application/vnd.openxmlformats-officedocument.drawingml.chart+xml"/>
  <Override PartName="/ppt/tags/tag276.xml" ContentType="application/vnd.openxmlformats-officedocument.presentationml.tags+xml"/>
  <Override PartName="/ppt/charts/chart320.xml" ContentType="application/vnd.openxmlformats-officedocument.drawingml.chart+xml"/>
  <Override PartName="/ppt/tags/tag277.xml" ContentType="application/vnd.openxmlformats-officedocument.presentationml.tags+xml"/>
  <Override PartName="/ppt/notesSlides/notesSlide106.xml" ContentType="application/vnd.openxmlformats-officedocument.presentationml.notesSlide+xml"/>
  <Override PartName="/ppt/charts/chart321.xml" ContentType="application/vnd.openxmlformats-officedocument.drawingml.chart+xml"/>
  <Override PartName="/ppt/charts/style120.xml" ContentType="application/vnd.ms-office.chartstyle+xml"/>
  <Override PartName="/ppt/charts/colors120.xml" ContentType="application/vnd.ms-office.chartcolorstyle+xml"/>
  <Override PartName="/ppt/tags/tag278.xml" ContentType="application/vnd.openxmlformats-officedocument.presentationml.tags+xml"/>
  <Override PartName="/ppt/notesSlides/notesSlide107.xml" ContentType="application/vnd.openxmlformats-officedocument.presentationml.notesSlide+xml"/>
  <Override PartName="/ppt/charts/chart322.xml" ContentType="application/vnd.openxmlformats-officedocument.drawingml.chart+xml"/>
  <Override PartName="/ppt/charts/style121.xml" ContentType="application/vnd.ms-office.chartstyle+xml"/>
  <Override PartName="/ppt/charts/colors121.xml" ContentType="application/vnd.ms-office.chartcolorstyle+xml"/>
  <Override PartName="/ppt/tags/tag279.xml" ContentType="application/vnd.openxmlformats-officedocument.presentationml.tags+xml"/>
  <Override PartName="/ppt/notesSlides/notesSlide108.xml" ContentType="application/vnd.openxmlformats-officedocument.presentationml.notesSlide+xml"/>
  <Override PartName="/ppt/charts/chart323.xml" ContentType="application/vnd.openxmlformats-officedocument.drawingml.chart+xml"/>
  <Override PartName="/ppt/charts/style122.xml" ContentType="application/vnd.ms-office.chartstyle+xml"/>
  <Override PartName="/ppt/charts/colors122.xml" ContentType="application/vnd.ms-office.chartcolorstyle+xml"/>
  <Override PartName="/ppt/tags/tag280.xml" ContentType="application/vnd.openxmlformats-officedocument.presentationml.tags+xml"/>
  <Override PartName="/ppt/notesSlides/notesSlide109.xml" ContentType="application/vnd.openxmlformats-officedocument.presentationml.notesSlide+xml"/>
  <Override PartName="/ppt/charts/chart324.xml" ContentType="application/vnd.openxmlformats-officedocument.drawingml.chart+xml"/>
  <Override PartName="/ppt/charts/style123.xml" ContentType="application/vnd.ms-office.chartstyle+xml"/>
  <Override PartName="/ppt/charts/colors123.xml" ContentType="application/vnd.ms-office.chartcolorstyle+xml"/>
  <Override PartName="/ppt/tags/tag281.xml" ContentType="application/vnd.openxmlformats-officedocument.presentationml.tags+xml"/>
  <Override PartName="/ppt/notesSlides/notesSlide110.xml" ContentType="application/vnd.openxmlformats-officedocument.presentationml.notesSlide+xml"/>
  <Override PartName="/ppt/charts/chart325.xml" ContentType="application/vnd.openxmlformats-officedocument.drawingml.chart+xml"/>
  <Override PartName="/ppt/charts/style124.xml" ContentType="application/vnd.ms-office.chartstyle+xml"/>
  <Override PartName="/ppt/charts/colors124.xml" ContentType="application/vnd.ms-office.chartcolorstyle+xml"/>
  <Override PartName="/ppt/tags/tag282.xml" ContentType="application/vnd.openxmlformats-officedocument.presentationml.tags+xml"/>
  <Override PartName="/ppt/notesSlides/notesSlide111.xml" ContentType="application/vnd.openxmlformats-officedocument.presentationml.notesSlide+xml"/>
  <Override PartName="/ppt/charts/chart326.xml" ContentType="application/vnd.openxmlformats-officedocument.drawingml.chart+xml"/>
  <Override PartName="/ppt/charts/style125.xml" ContentType="application/vnd.ms-office.chartstyle+xml"/>
  <Override PartName="/ppt/charts/colors125.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260"/>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 id="2147475285" r:id="rId96"/>
    <p:sldId id="2147475286" r:id="rId97"/>
    <p:sldId id="2147475287" r:id="rId98"/>
    <p:sldId id="2147475288" r:id="rId99"/>
    <p:sldId id="2147475289" r:id="rId100"/>
    <p:sldId id="2147475290" r:id="rId101"/>
    <p:sldId id="2147475291" r:id="rId102"/>
    <p:sldId id="2147475292" r:id="rId103"/>
    <p:sldId id="2147475293" r:id="rId104"/>
    <p:sldId id="2147475294" r:id="rId105"/>
    <p:sldId id="2147475295" r:id="rId106"/>
    <p:sldId id="2147475296" r:id="rId107"/>
    <p:sldId id="2147475297" r:id="rId108"/>
    <p:sldId id="2147475298" r:id="rId109"/>
    <p:sldId id="2147475299" r:id="rId110"/>
    <p:sldId id="2147475300" r:id="rId111"/>
    <p:sldId id="2147475301" r:id="rId112"/>
    <p:sldId id="2147475302" r:id="rId113"/>
    <p:sldId id="2147475303" r:id="rId114"/>
    <p:sldId id="2147475304" r:id="rId115"/>
    <p:sldId id="2147475305" r:id="rId116"/>
    <p:sldId id="2147475306" r:id="rId117"/>
    <p:sldId id="2147475307" r:id="rId118"/>
    <p:sldId id="2147475308" r:id="rId119"/>
    <p:sldId id="2147475309" r:id="rId120"/>
    <p:sldId id="2147475310" r:id="rId121"/>
    <p:sldId id="2147475311" r:id="rId122"/>
    <p:sldId id="2147475312" r:id="rId123"/>
    <p:sldId id="2147475313" r:id="rId124"/>
    <p:sldId id="2147475314" r:id="rId125"/>
    <p:sldId id="2147475315" r:id="rId126"/>
    <p:sldId id="2147475316" r:id="rId127"/>
    <p:sldId id="2147475317" r:id="rId128"/>
    <p:sldId id="2147475318" r:id="rId129"/>
    <p:sldId id="2147475319" r:id="rId130"/>
    <p:sldId id="2147475320" r:id="rId131"/>
    <p:sldId id="2147475321" r:id="rId132"/>
    <p:sldId id="2147475322" r:id="rId133"/>
    <p:sldId id="2147475323" r:id="rId134"/>
    <p:sldId id="2147475324" r:id="rId135"/>
    <p:sldId id="2147475325" r:id="rId136"/>
    <p:sldId id="2147475326" r:id="rId137"/>
    <p:sldId id="2147475327" r:id="rId138"/>
    <p:sldId id="2147475328" r:id="rId139"/>
    <p:sldId id="2147475329" r:id="rId140"/>
    <p:sldId id="2147475330" r:id="rId141"/>
    <p:sldId id="2147475331" r:id="rId142"/>
    <p:sldId id="2147475332" r:id="rId143"/>
    <p:sldId id="2147475333" r:id="rId144"/>
    <p:sldId id="2147475334" r:id="rId145"/>
    <p:sldId id="2147475335" r:id="rId146"/>
    <p:sldId id="2147475336" r:id="rId147"/>
    <p:sldId id="2147475337" r:id="rId148"/>
    <p:sldId id="2147475338" r:id="rId149"/>
    <p:sldId id="2147475339" r:id="rId150"/>
    <p:sldId id="2147475340" r:id="rId151"/>
    <p:sldId id="2147475341" r:id="rId152"/>
    <p:sldId id="2147475342" r:id="rId153"/>
    <p:sldId id="2147475343" r:id="rId154"/>
    <p:sldId id="2147475344" r:id="rId155"/>
    <p:sldId id="2147475345" r:id="rId156"/>
    <p:sldId id="2147475346" r:id="rId157"/>
    <p:sldId id="2147475347" r:id="rId158"/>
    <p:sldId id="2147475348" r:id="rId159"/>
    <p:sldId id="2147475349" r:id="rId160"/>
    <p:sldId id="2147475350" r:id="rId161"/>
    <p:sldId id="2147475351" r:id="rId162"/>
    <p:sldId id="2147475352" r:id="rId163"/>
    <p:sldId id="2147475353" r:id="rId164"/>
    <p:sldId id="2147475354" r:id="rId165"/>
    <p:sldId id="2147475355" r:id="rId166"/>
    <p:sldId id="2147475356" r:id="rId167"/>
    <p:sldId id="2147475357" r:id="rId168"/>
    <p:sldId id="2147475358" r:id="rId169"/>
    <p:sldId id="2147475359" r:id="rId170"/>
    <p:sldId id="2147475360" r:id="rId171"/>
    <p:sldId id="2147475361" r:id="rId172"/>
    <p:sldId id="2147475362" r:id="rId173"/>
    <p:sldId id="2147475363" r:id="rId174"/>
    <p:sldId id="2147475364" r:id="rId175"/>
    <p:sldId id="2147475365" r:id="rId176"/>
    <p:sldId id="2147475366" r:id="rId177"/>
    <p:sldId id="2147475367" r:id="rId178"/>
    <p:sldId id="2147475368" r:id="rId179"/>
    <p:sldId id="2147475369" r:id="rId180"/>
    <p:sldId id="2147475370" r:id="rId181"/>
    <p:sldId id="2147475371" r:id="rId182"/>
    <p:sldId id="2147475372" r:id="rId183"/>
    <p:sldId id="2147475373" r:id="rId184"/>
    <p:sldId id="2147475374" r:id="rId185"/>
    <p:sldId id="2147475375" r:id="rId186"/>
    <p:sldId id="2147475376" r:id="rId187"/>
    <p:sldId id="2147475377" r:id="rId188"/>
    <p:sldId id="2147475378" r:id="rId189"/>
    <p:sldId id="2147475379" r:id="rId190"/>
    <p:sldId id="2147475380" r:id="rId191"/>
    <p:sldId id="2147475381" r:id="rId192"/>
    <p:sldId id="2147475382" r:id="rId193"/>
    <p:sldId id="2147475383" r:id="rId194"/>
    <p:sldId id="2147475384" r:id="rId195"/>
    <p:sldId id="2147475385" r:id="rId196"/>
    <p:sldId id="2147475386" r:id="rId197"/>
    <p:sldId id="2147475387" r:id="rId198"/>
    <p:sldId id="2147475388" r:id="rId199"/>
    <p:sldId id="2147475389" r:id="rId200"/>
    <p:sldId id="2147475390" r:id="rId201"/>
    <p:sldId id="2147475391" r:id="rId202"/>
    <p:sldId id="2147475392" r:id="rId203"/>
    <p:sldId id="2147475393" r:id="rId204"/>
    <p:sldId id="2147475394" r:id="rId205"/>
    <p:sldId id="2147475395" r:id="rId206"/>
    <p:sldId id="2147475396" r:id="rId207"/>
    <p:sldId id="2147475397" r:id="rId208"/>
    <p:sldId id="2147475398" r:id="rId209"/>
    <p:sldId id="2147475399" r:id="rId210"/>
    <p:sldId id="2147475400" r:id="rId211"/>
    <p:sldId id="2147475401" r:id="rId212"/>
    <p:sldId id="2147475402" r:id="rId213"/>
    <p:sldId id="2147475403" r:id="rId214"/>
    <p:sldId id="2147475404" r:id="rId215"/>
    <p:sldId id="2147475405" r:id="rId216"/>
    <p:sldId id="2147475406" r:id="rId217"/>
    <p:sldId id="2147475407" r:id="rId218"/>
    <p:sldId id="2147475408" r:id="rId219"/>
    <p:sldId id="2147475409" r:id="rId220"/>
    <p:sldId id="2147475410" r:id="rId221"/>
    <p:sldId id="2147475411" r:id="rId222"/>
    <p:sldId id="2147475412" r:id="rId223"/>
    <p:sldId id="2147475413" r:id="rId224"/>
    <p:sldId id="2147475414" r:id="rId225"/>
    <p:sldId id="2147475415" r:id="rId226"/>
    <p:sldId id="2147475416" r:id="rId227"/>
    <p:sldId id="2147475417" r:id="rId228"/>
    <p:sldId id="2147475418" r:id="rId229"/>
    <p:sldId id="2147475419" r:id="rId230"/>
    <p:sldId id="2147475420" r:id="rId231"/>
    <p:sldId id="2147475421" r:id="rId232"/>
    <p:sldId id="2147475422" r:id="rId233"/>
    <p:sldId id="2147475423" r:id="rId234"/>
    <p:sldId id="2147475424" r:id="rId235"/>
    <p:sldId id="2147475425" r:id="rId236"/>
    <p:sldId id="2147475426" r:id="rId237"/>
    <p:sldId id="2147475427" r:id="rId238"/>
    <p:sldId id="2147475428" r:id="rId239"/>
    <p:sldId id="2147475429" r:id="rId240"/>
    <p:sldId id="2147475430" r:id="rId241"/>
    <p:sldId id="2147475431" r:id="rId242"/>
    <p:sldId id="2147475432" r:id="rId243"/>
    <p:sldId id="2147475433" r:id="rId244"/>
    <p:sldId id="2147475434" r:id="rId245"/>
    <p:sldId id="2147475435" r:id="rId246"/>
    <p:sldId id="2147475436" r:id="rId247"/>
    <p:sldId id="2147475437" r:id="rId248"/>
    <p:sldId id="2147475438" r:id="rId249"/>
    <p:sldId id="2147475439" r:id="rId250"/>
    <p:sldId id="2147475440" r:id="rId251"/>
    <p:sldId id="2147475441" r:id="rId252"/>
    <p:sldId id="2147475442" r:id="rId253"/>
    <p:sldId id="2147475443" r:id="rId254"/>
    <p:sldId id="2147475444" r:id="rId255"/>
    <p:sldId id="2147475445" r:id="rId256"/>
    <p:sldId id="2147475446" r:id="rId257"/>
    <p:sldId id="2147475447" r:id="rId258"/>
    <p:sldId id="2147475448" r:id="rId25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Evolution Category" id="{09D1F84B-015A-4EAF-928F-633F3BEAB6DA}">
          <p14:sldIdLst>
            <p14:sldId id="2147475194"/>
            <p14:sldId id="2147475195"/>
          </p14:sldIdLst>
        </p14:section>
        <p14:section name="Promo Evolution Sector" id="{CE7CD3BE-22BB-4B27-BEBE-79EB3465FCFF}">
          <p14:sldIdLst>
            <p14:sldId id="2147475196"/>
            <p14:sldId id="2147475197"/>
            <p14:sldId id="2147475198"/>
            <p14:sldId id="2147475199"/>
          </p14:sldIdLst>
        </p14:section>
        <p14:section name="Promo Evolution Segment" id="{9D61717F-2E76-4490-B7F6-DAA7ECAA7278}">
          <p14:sldIdLst>
            <p14:sldId id="2147475200"/>
            <p14:sldId id="2147475201"/>
            <p14:sldId id="2147475202"/>
            <p14:sldId id="2147475203"/>
            <p14:sldId id="2147475204"/>
            <p14:sldId id="2147475205"/>
          </p14:sldIdLst>
        </p14:section>
        <p14:section name="VSOD Summary by Sector Sector" id="{06E06F17-F829-4A61-9A5A-1997464A1B5C}">
          <p14:sldIdLst>
            <p14:sldId id="2147475206"/>
            <p14:sldId id="2147475207"/>
          </p14:sldIdLst>
        </p14:section>
        <p14:section name="VSOD Summary by Sector Segment" id="{DAB263B1-AE19-4690-8772-42BD320D05AA}">
          <p14:sldIdLst>
            <p14:sldId id="2147475208"/>
            <p14:sldId id="2147475209"/>
          </p14:sldIdLst>
        </p14:section>
        <p14:section name="Value uplift by retailer by brand Category" id="{3B4A8F8A-5DDF-4EA4-B66A-B7167A499A6B}">
          <p14:sldIdLst>
            <p14:sldId id="2147475210"/>
          </p14:sldIdLst>
        </p14:section>
        <p14:section name="Value uplift by retailer by brand Sector" id="{7385D825-533A-4E57-9B42-99CE192191C8}">
          <p14:sldIdLst>
            <p14:sldId id="2147475211"/>
            <p14:sldId id="2147475212"/>
          </p14:sldIdLst>
        </p14:section>
        <p14:section name="Value uplift by retailer by brand Segment" id="{D2443531-C1EE-4EBF-9A67-5FFD685D22D0}">
          <p14:sldIdLst>
            <p14:sldId id="2147475213"/>
            <p14:sldId id="2147475214"/>
            <p14:sldId id="2147475215"/>
          </p14:sldIdLst>
        </p14:section>
        <p14:section name="Volume Uplift vs discount depth Category" id="{FD5466FD-F05D-4A16-AD72-DE36384FD39A}">
          <p14:sldIdLst>
            <p14:sldId id="2147475216"/>
            <p14:sldId id="2147475217"/>
          </p14:sldIdLst>
        </p14:section>
        <p14:section name="Volume Uplift vs discount depth Sector" id="{D5E3F01D-9196-4E68-B671-D95895D23EE3}">
          <p14:sldIdLst>
            <p14:sldId id="2147475218"/>
            <p14:sldId id="2147475219"/>
            <p14:sldId id="2147475220"/>
            <p14:sldId id="2147475221"/>
          </p14:sldIdLst>
        </p14:section>
        <p14:section name="Volume Uplift vs discount depth Segment" id="{FA0615CB-1DD3-4069-833E-5D884D13533A}">
          <p14:sldIdLst>
            <p14:sldId id="2147475222"/>
            <p14:sldId id="2147475223"/>
            <p14:sldId id="2147475224"/>
            <p14:sldId id="2147475225"/>
            <p14:sldId id="2147475226"/>
            <p14:sldId id="2147475227"/>
          </p14:sldIdLst>
        </p14:section>
        <p14:section name="Value Uplift vs Promo Efficiency Quadrant Category" id="{CB5D1301-F6D2-4E6F-A235-3A5F749D94A7}">
          <p14:sldIdLst>
            <p14:sldId id="2147475228"/>
            <p14:sldId id="2147475229"/>
          </p14:sldIdLst>
        </p14:section>
        <p14:section name="Value Uplift vs Promo Efficiency Quadrant Sector" id="{E25D5AB5-339E-4E8F-8424-965E408D5E9F}">
          <p14:sldIdLst>
            <p14:sldId id="2147475230"/>
            <p14:sldId id="2147475231"/>
            <p14:sldId id="2147475232"/>
            <p14:sldId id="2147475233"/>
          </p14:sldIdLst>
        </p14:section>
        <p14:section name="Value Uplift vs Promo Efficiency Quadrant Segment" id="{50CE1EE4-7942-4363-A293-C7115073875A}">
          <p14:sldIdLst>
            <p14:sldId id="2147475234"/>
            <p14:sldId id="2147475235"/>
            <p14:sldId id="2147475236"/>
            <p14:sldId id="2147475237"/>
            <p14:sldId id="2147475238"/>
            <p14:sldId id="2147475239"/>
          </p14:sldIdLst>
        </p14:section>
        <p14:section name="Top 20 promotions Category" id="{DC2A08EE-24B1-4CE6-8EB4-95F3EB905428}">
          <p14:sldIdLst>
            <p14:sldId id="2147475240"/>
            <p14:sldId id="2147475241"/>
          </p14:sldIdLst>
        </p14:section>
        <p14:section name="Top 20 promotions Sector" id="{E0CB8F6C-2C25-4990-A45D-73CAEADE115C}">
          <p14:sldIdLst>
            <p14:sldId id="2147475242"/>
            <p14:sldId id="2147475243"/>
            <p14:sldId id="2147475244"/>
            <p14:sldId id="2147475245"/>
          </p14:sldIdLst>
        </p14:section>
        <p14:section name="Top 20 promotions Segment" id="{25641F25-3E87-45F7-B942-B78A210C60E4}">
          <p14:sldIdLst>
            <p14:sldId id="2147475246"/>
            <p14:sldId id="2147475247"/>
            <p14:sldId id="2147475248"/>
            <p14:sldId id="2147475249"/>
            <p14:sldId id="2147475250"/>
            <p14:sldId id="2147475251"/>
          </p14:sldIdLst>
        </p14:section>
        <p14:section name="Top 20 promotions CLIENT ONLY Category" id="{E9F68BFC-C399-44B2-8368-EFECBEE0BE02}">
          <p14:sldIdLst>
            <p14:sldId id="2147475252"/>
            <p14:sldId id="2147475253"/>
          </p14:sldIdLst>
        </p14:section>
        <p14:section name="Top 20 promotions CLIENT ONLY Sector" id="{E3D292DC-E523-42DB-A68E-D665D0A2360F}">
          <p14:sldIdLst>
            <p14:sldId id="2147475254"/>
            <p14:sldId id="2147475255"/>
            <p14:sldId id="2147475256"/>
            <p14:sldId id="2147475257"/>
          </p14:sldIdLst>
        </p14:section>
        <p14:section name="Top 20 promotions CLIENT ONLY Segment" id="{E41BC9A0-C22E-4600-B627-1BA07FC0C9C7}">
          <p14:sldIdLst>
            <p14:sldId id="2147475258"/>
            <p14:sldId id="2147475259"/>
            <p14:sldId id="2147475260"/>
            <p14:sldId id="2147475261"/>
            <p14:sldId id="2147475262"/>
          </p14:sldIdLst>
        </p14:section>
        <p14:section name="Bottom 20 promotions CLIENT ONLY Category" id="{B2EE7661-D105-4E81-BA79-0DF641E7D649}">
          <p14:sldIdLst>
            <p14:sldId id="2147475263"/>
            <p14:sldId id="2147475264"/>
          </p14:sldIdLst>
        </p14:section>
        <p14:section name="Bottom 20 promotions CLIENT ONLY Sector" id="{7FD2026A-BE7E-40B5-AF83-337A45CDAA31}">
          <p14:sldIdLst>
            <p14:sldId id="2147475265"/>
            <p14:sldId id="2147475266"/>
            <p14:sldId id="2147475267"/>
            <p14:sldId id="2147475268"/>
          </p14:sldIdLst>
        </p14:section>
        <p14:section name="Bottom 20 promotions CLIENT ONLY Segment" id="{6B4D15F6-BE01-423A-939F-9B67B637F9E8}">
          <p14:sldIdLst>
            <p14:sldId id="2147475269"/>
            <p14:sldId id="2147475270"/>
            <p14:sldId id="2147475271"/>
            <p14:sldId id="2147475272"/>
            <p14:sldId id="2147475273"/>
          </p14:sldIdLst>
        </p14:section>
        <p14:section name="Volume Sold on Deal Sector" id="{EF07E8F0-C218-4D11-87B8-B3306F6E3AC8}">
          <p14:sldIdLst>
            <p14:sldId id="2147475274"/>
            <p14:sldId id="2147475275"/>
            <p14:sldId id="2147475276"/>
            <p14:sldId id="2147475277"/>
            <p14:sldId id="2147475278"/>
            <p14:sldId id="2147475279"/>
            <p14:sldId id="2147475280"/>
          </p14:sldIdLst>
        </p14:section>
        <p14:section name="Volume Sold on Deal Segment" id="{71D10D93-3533-44D3-8B7F-CE5A07B2444C}">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Lst>
        </p14:section>
        <p14:section name="Promo share vs Value Share Category" id="{71C0DEBC-1981-4E87-8274-64FFE0883EE6}">
          <p14:sldIdLst>
            <p14:sldId id="2147475295"/>
            <p14:sldId id="2147475296"/>
          </p14:sldIdLst>
        </p14:section>
        <p14:section name="Promo share vs Value Share Sector" id="{83D9FF2A-D78C-4111-B402-17918F059383}">
          <p14:sldIdLst>
            <p14:sldId id="2147475297"/>
            <p14:sldId id="2147475298"/>
            <p14:sldId id="2147475299"/>
            <p14:sldId id="2147475300"/>
          </p14:sldIdLst>
        </p14:section>
        <p14:section name="Promo share vs Value Share Segment" id="{3EF6ED07-CAB0-4FC3-A93B-2ACF761E3840}">
          <p14:sldIdLst>
            <p14:sldId id="2147475301"/>
            <p14:sldId id="2147475302"/>
            <p14:sldId id="2147475303"/>
            <p14:sldId id="2147475304"/>
            <p14:sldId id="2147475305"/>
            <p14:sldId id="2147475306"/>
          </p14:sldIdLst>
        </p14:section>
        <p14:section name="Promo Sales by total size Category" id="{8856A1A7-A7CB-41A5-B4D8-2DC4D490ABE6}">
          <p14:sldIdLst>
            <p14:sldId id="2147475307"/>
          </p14:sldIdLst>
        </p14:section>
        <p14:section name="Promo Sales by total size Sector" id="{1A5F05AF-63CB-49D4-9139-7E3117F5B03F}">
          <p14:sldIdLst>
            <p14:sldId id="2147475308"/>
            <p14:sldId id="2147475309"/>
          </p14:sldIdLst>
        </p14:section>
        <p14:section name="Promo Sales by total size Segment" id="{C47C4742-92E3-4017-B26A-BB738F5E2BCA}">
          <p14:sldIdLst>
            <p14:sldId id="2147475310"/>
            <p14:sldId id="2147475311"/>
            <p14:sldId id="2147475312"/>
          </p14:sldIdLst>
        </p14:section>
        <p14:section name="Promo Sales by promo type Category" id="{B1E28A8E-E8C3-4E66-AD6A-6C47FFC2F9E8}">
          <p14:sldIdLst>
            <p14:sldId id="2147475313"/>
            <p14:sldId id="2147475314"/>
          </p14:sldIdLst>
        </p14:section>
        <p14:section name="Promo Sales by promo type Sector" id="{F3E0E77F-D13E-48A9-92D7-0402DAE065FC}">
          <p14:sldIdLst>
            <p14:sldId id="2147475315"/>
            <p14:sldId id="2147475316"/>
            <p14:sldId id="2147475317"/>
            <p14:sldId id="2147475318"/>
          </p14:sldIdLst>
        </p14:section>
        <p14:section name="Promo Sales by promo type Segment" id="{58BB743F-F5AE-4CB0-BE4A-3CD75D65346E}">
          <p14:sldIdLst>
            <p14:sldId id="2147475319"/>
            <p14:sldId id="2147475320"/>
            <p14:sldId id="2147475321"/>
            <p14:sldId id="2147475322"/>
            <p14:sldId id="2147475323"/>
          </p14:sldIdLst>
        </p14:section>
        <p14:section name="Promo Frequency learnings Category" id="{95F779AF-2649-4EFB-89E0-074CFC448C4B}">
          <p14:sldIdLst>
            <p14:sldId id="2147475324"/>
            <p14:sldId id="2147475325"/>
            <p14:sldId id="2147475326"/>
            <p14:sldId id="2147475327"/>
            <p14:sldId id="2147475328"/>
            <p14:sldId id="2147475329"/>
            <p14:sldId id="2147475330"/>
          </p14:sldIdLst>
        </p14:section>
        <p14:section name="Promo Frequency learnings Sector" id="{280DAC74-54FC-463F-902F-B44A3623D0A2}">
          <p14:sldIdLst>
            <p14:sldId id="2147475331"/>
            <p14:sldId id="2147475332"/>
            <p14:sldId id="2147475333"/>
            <p14:sldId id="2147475334"/>
            <p14:sldId id="2147475335"/>
            <p14:sldId id="2147475336"/>
            <p14:sldId id="2147475337"/>
            <p14:sldId id="2147475338"/>
            <p14:sldId id="2147475339"/>
            <p14:sldId id="2147475340"/>
            <p14:sldId id="2147475341"/>
          </p14:sldIdLst>
        </p14:section>
        <p14:section name="Promo Frequency learnings Segment" id="{F2EA9299-96AB-40FA-BFD7-71BDD6810CFB}">
          <p14:sldIdLst>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Promo sales per retailer Category" id="{CDEED24F-7985-40FF-A00A-6A5B9BBEAB66}">
          <p14:sldIdLst>
            <p14:sldId id="2147475357"/>
            <p14:sldId id="2147475358"/>
          </p14:sldIdLst>
        </p14:section>
        <p14:section name="Promo sales per retailer Sector" id="{9D3F29CB-C3E4-4AA9-8498-C19B01FAD1C2}">
          <p14:sldIdLst>
            <p14:sldId id="2147475359"/>
            <p14:sldId id="2147475360"/>
            <p14:sldId id="2147475361"/>
            <p14:sldId id="2147475362"/>
          </p14:sldIdLst>
        </p14:section>
        <p14:section name="Promo sales per retailer Segment" id="{96B09F8B-8E45-43B6-A2C2-33B9020D360F}">
          <p14:sldIdLst>
            <p14:sldId id="2147475363"/>
            <p14:sldId id="2147475364"/>
            <p14:sldId id="2147475365"/>
            <p14:sldId id="2147475366"/>
            <p14:sldId id="2147475367"/>
          </p14:sldIdLst>
        </p14:section>
        <p14:section name="Promo sales per retailer SubSegment" id="{C251ED6D-4518-4056-B9FF-F52BD3D76D52}">
          <p14:sldIdLst/>
        </p14:section>
        <p14:section name="Value Uplift vs discount depth Category" id="{7E94D10D-9F3C-4B55-888C-A34FBB62760D}">
          <p14:sldIdLst>
            <p14:sldId id="2147475368"/>
            <p14:sldId id="2147475369"/>
            <p14:sldId id="2147475370"/>
            <p14:sldId id="2147475371"/>
            <p14:sldId id="2147475372"/>
          </p14:sldIdLst>
        </p14:section>
        <p14:section name="Value Uplift vs discount depth Sector" id="{A3D1F55C-1CA7-4F45-B1F3-74422818DE1D}">
          <p14:sldIdLst>
            <p14:sldId id="2147475373"/>
            <p14:sldId id="2147475374"/>
            <p14:sldId id="2147475375"/>
            <p14:sldId id="2147475376"/>
            <p14:sldId id="2147475377"/>
            <p14:sldId id="2147475378"/>
            <p14:sldId id="2147475379"/>
          </p14:sldIdLst>
        </p14:section>
        <p14:section name="Value Uplift vs discount depth Segment" id="{B890946A-653C-45F5-A0A2-5B9CBC45210D}">
          <p14:sldIdLst>
            <p14:sldId id="2147475380"/>
            <p14:sldId id="2147475381"/>
            <p14:sldId id="2147475382"/>
            <p14:sldId id="2147475383"/>
            <p14:sldId id="2147475384"/>
            <p14:sldId id="2147475385"/>
            <p14:sldId id="2147475386"/>
            <p14:sldId id="2147475387"/>
            <p14:sldId id="2147475388"/>
            <p14:sldId id="2147475389"/>
          </p14:sldIdLst>
        </p14:section>
        <p14:section name="Seasonality Index Category" id="{2EE02496-8F67-402C-A5A2-4E1F70DB4143}">
          <p14:sldIdLst>
            <p14:sldId id="2147475390"/>
            <p14:sldId id="2147475391"/>
          </p14:sldIdLst>
        </p14:section>
        <p14:section name="Seasonality Index Sector" id="{2682E7A3-B5F6-4935-8C69-10377D73C4D8}">
          <p14:sldIdLst>
            <p14:sldId id="2147475392"/>
            <p14:sldId id="2147475393"/>
          </p14:sldIdLst>
        </p14:section>
        <p14:section name="Seasonality Index Segment" id="{9456791A-4538-4F3D-B7D5-5520281A99C4}">
          <p14:sldIdLst>
            <p14:sldId id="2147475394"/>
            <p14:sldId id="2147475395"/>
            <p14:sldId id="2147475396"/>
            <p14:sldId id="2147475397"/>
          </p14:sldIdLst>
        </p14:section>
        <p14:section name="Seasonality Index Subsegment" id="{1BFF765D-2B13-413D-8A3D-70F88FFB89FF}">
          <p14:sldIdLst/>
        </p14:section>
        <p14:section name="Promotional Frequency Analysis Category" id="{4CEE2305-A1FD-44B4-A1C9-331B31A1D3D1}">
          <p14:sldIdLst>
            <p14:sldId id="2147475398"/>
            <p14:sldId id="2147475399"/>
          </p14:sldIdLst>
        </p14:section>
        <p14:section name="Promotional Frequency Analysis Sector" id="{77AC4DF3-4A48-4CB4-887D-1536B816C1F4}">
          <p14:sldIdLst>
            <p14:sldId id="2147475400"/>
            <p14:sldId id="2147475401"/>
            <p14:sldId id="2147475402"/>
            <p14:sldId id="2147475403"/>
          </p14:sldIdLst>
        </p14:section>
        <p14:section name="Promotional Frequency Analysis Segment" id="{6636D8BA-FD10-4893-94C6-66B28C9B3A27}">
          <p14:sldIdLst>
            <p14:sldId id="2147475404"/>
            <p14:sldId id="2147475405"/>
            <p14:sldId id="2147475406"/>
            <p14:sldId id="2147475407"/>
            <p14:sldId id="2147475408"/>
          </p14:sldIdLst>
        </p14:section>
        <p14:section name="Promotional Frequency Analysis Subsegment" id="{C0B9F9A4-6B69-4D86-B68F-E16AD3F2577D}">
          <p14:sldIdLst/>
        </p14:section>
        <p14:section name="Promo Evolution no client prio Category" id="{61C424B7-ADE8-41FB-8B6E-8E1A639EDAC4}">
          <p14:sldIdLst>
            <p14:sldId id="2147475409"/>
            <p14:sldId id="2147475410"/>
          </p14:sldIdLst>
        </p14:section>
        <p14:section name="Promo Evolution no client prio Sector" id="{C6746326-924A-4B70-AF38-D2DA885ABCC4}">
          <p14:sldIdLst>
            <p14:sldId id="2147475411"/>
            <p14:sldId id="2147475412"/>
            <p14:sldId id="2147475413"/>
            <p14:sldId id="2147475414"/>
          </p14:sldIdLst>
        </p14:section>
        <p14:section name="Promo Evolution no client prio Segment" id="{72626C65-B72A-4B15-8103-7CA48FADA875}">
          <p14:sldIdLst>
            <p14:sldId id="2147475415"/>
            <p14:sldId id="2147475416"/>
            <p14:sldId id="2147475417"/>
            <p14:sldId id="2147475418"/>
            <p14:sldId id="2147475419"/>
            <p14:sldId id="2147475420"/>
          </p14:sldIdLst>
        </p14:section>
        <p14:section name="VSOD Summary by Sector no client prio Sector" id="{11B1E243-0867-467E-8EC6-299B9B6B546D}">
          <p14:sldIdLst>
            <p14:sldId id="2147475421"/>
            <p14:sldId id="2147475422"/>
          </p14:sldIdLst>
        </p14:section>
        <p14:section name="VSOD Summary by Sector no client prio Segment" id="{D82BE304-E233-454B-9B31-255877FE8382}">
          <p14:sldIdLst>
            <p14:sldId id="2147475423"/>
            <p14:sldId id="2147475424"/>
          </p14:sldIdLst>
        </p14:section>
        <p14:section name="Value uplift by retailer by brand no client prio Category" id="{7B898205-26FF-460C-88EC-39D10B8BD3B5}">
          <p14:sldIdLst>
            <p14:sldId id="2147475425"/>
          </p14:sldIdLst>
        </p14:section>
        <p14:section name="Value uplift by retailer by brand no client prio Sector" id="{839BA034-4BC2-47AA-96DE-5FDADA73E674}">
          <p14:sldIdLst>
            <p14:sldId id="2147475426"/>
            <p14:sldId id="2147475427"/>
          </p14:sldIdLst>
        </p14:section>
        <p14:section name="Value uplift by retailer by brand no client prio Segment" id="{C8022F7F-B0B6-4723-987C-A64B9FAC24A3}">
          <p14:sldIdLst>
            <p14:sldId id="2147475428"/>
            <p14:sldId id="2147475429"/>
            <p14:sldId id="2147475430"/>
          </p14:sldIdLst>
        </p14:section>
        <p14:section name="Promo share vs Value Share no client prio Category" id="{A8D2BE56-EF1A-4491-B853-1D3E98062500}">
          <p14:sldIdLst>
            <p14:sldId id="2147475431"/>
            <p14:sldId id="2147475432"/>
          </p14:sldIdLst>
        </p14:section>
        <p14:section name="Promo share vs Value Share no client prio Sector" id="{B4E4BE16-2F4B-4753-A9F3-01D2BF76FCAA}">
          <p14:sldIdLst>
            <p14:sldId id="2147475433"/>
            <p14:sldId id="2147475434"/>
            <p14:sldId id="2147475435"/>
            <p14:sldId id="2147475436"/>
          </p14:sldIdLst>
        </p14:section>
        <p14:section name="Promo share vs Value Share no client prio Segment" id="{A061F5B6-629A-44CB-88E5-DD15029DAA63}">
          <p14:sldIdLst>
            <p14:sldId id="2147475437"/>
            <p14:sldId id="2147475438"/>
            <p14:sldId id="2147475439"/>
            <p14:sldId id="2147475440"/>
            <p14:sldId id="2147475441"/>
            <p14:sldId id="2147475442"/>
          </p14:sldIdLst>
        </p14:section>
        <p14:section name="Promo Sales by total size no client prio Category" id="{D6C92E14-EB1C-45BB-BC5A-3D67A3B64873}">
          <p14:sldIdLst>
            <p14:sldId id="2147475443"/>
          </p14:sldIdLst>
        </p14:section>
        <p14:section name="Promo Sales by total size no client prio Sector" id="{E07FE699-79D4-4A5C-9E9F-9EBFFA2D13F3}">
          <p14:sldIdLst>
            <p14:sldId id="2147475444"/>
            <p14:sldId id="2147475445"/>
          </p14:sldIdLst>
        </p14:section>
        <p14:section name="Promo Sales by total size no client prio Segment" id="{6B4FF2C3-3F1B-4253-9F09-51EC9F333B7A}">
          <p14:sldIdLst>
            <p14:sldId id="2147475446"/>
            <p14:sldId id="2147475447"/>
            <p14:sldId id="214747544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58" Type="http://schemas.openxmlformats.org/officeDocument/2006/relationships/slide" Target="slides/slide254.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notesMaster" Target="notesMasters/notesMaster1.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presProps" Target="presProps.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viewProps" Target="viewProps.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theme" Target="theme/theme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tableStyles" Target="tableStyle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microsoft.com/office/2015/10/relationships/revisionInfo" Target="revisionInfo.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microsoft.com/office/2018/10/relationships/authors" Target="authors.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20.xml"/><Relationship Id="rId1" Type="http://schemas.microsoft.com/office/2011/relationships/chartStyle" Target="style2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21.xml"/><Relationship Id="rId1" Type="http://schemas.microsoft.com/office/2011/relationships/chartStyle" Target="style2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22.xml"/><Relationship Id="rId1" Type="http://schemas.microsoft.com/office/2011/relationships/chartStyle" Target="style2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23.xml"/><Relationship Id="rId1" Type="http://schemas.microsoft.com/office/2011/relationships/chartStyle" Target="style2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24.xml"/><Relationship Id="rId1" Type="http://schemas.microsoft.com/office/2011/relationships/chartStyle" Target="style2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25.xml"/><Relationship Id="rId1" Type="http://schemas.microsoft.com/office/2011/relationships/chartStyle" Target="style2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26.xml"/><Relationship Id="rId1" Type="http://schemas.microsoft.com/office/2011/relationships/chartStyle" Target="style2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27.xml"/><Relationship Id="rId1" Type="http://schemas.microsoft.com/office/2011/relationships/chartStyle" Target="style2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28.xml"/><Relationship Id="rId1" Type="http://schemas.microsoft.com/office/2011/relationships/chartStyle" Target="style2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29.xml"/><Relationship Id="rId1" Type="http://schemas.microsoft.com/office/2011/relationships/chartStyle" Target="style29.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30.xml"/><Relationship Id="rId1" Type="http://schemas.microsoft.com/office/2011/relationships/chartStyle" Target="style3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31.xml"/><Relationship Id="rId1" Type="http://schemas.microsoft.com/office/2011/relationships/chartStyle" Target="style3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32.xml"/><Relationship Id="rId1" Type="http://schemas.microsoft.com/office/2011/relationships/chartStyle" Target="style3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33.xml"/><Relationship Id="rId1" Type="http://schemas.microsoft.com/office/2011/relationships/chartStyle" Target="style3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34.xml"/><Relationship Id="rId1" Type="http://schemas.microsoft.com/office/2011/relationships/chartStyle" Target="style3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35.xml"/><Relationship Id="rId1" Type="http://schemas.microsoft.com/office/2011/relationships/chartStyle" Target="style35.xml"/></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36.xml"/><Relationship Id="rId1" Type="http://schemas.microsoft.com/office/2011/relationships/chartStyle" Target="style36.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3" Type="http://schemas.openxmlformats.org/officeDocument/2006/relationships/package" Target="../embeddings/Microsoft_Excel_Worksheet159.xlsx"/><Relationship Id="rId2" Type="http://schemas.microsoft.com/office/2011/relationships/chartColorStyle" Target="colors37.xml"/><Relationship Id="rId1" Type="http://schemas.microsoft.com/office/2011/relationships/chartStyle" Target="style37.xml"/></Relationships>
</file>

<file path=ppt/charts/_rels/chart161.xml.rels><?xml version="1.0" encoding="UTF-8" standalone="yes"?>
<Relationships xmlns="http://schemas.openxmlformats.org/package/2006/relationships"><Relationship Id="rId3" Type="http://schemas.openxmlformats.org/officeDocument/2006/relationships/package" Target="../embeddings/Microsoft_Excel_Worksheet160.xlsx"/><Relationship Id="rId2" Type="http://schemas.microsoft.com/office/2011/relationships/chartColorStyle" Target="colors38.xml"/><Relationship Id="rId1" Type="http://schemas.microsoft.com/office/2011/relationships/chartStyle" Target="style38.xml"/></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39.xml"/><Relationship Id="rId1" Type="http://schemas.microsoft.com/office/2011/relationships/chartStyle" Target="style39.xml"/></Relationships>
</file>

<file path=ppt/charts/_rels/chart163.xml.rels><?xml version="1.0" encoding="UTF-8" standalone="yes"?>
<Relationships xmlns="http://schemas.openxmlformats.org/package/2006/relationships"><Relationship Id="rId3" Type="http://schemas.openxmlformats.org/officeDocument/2006/relationships/package" Target="../embeddings/Microsoft_Excel_Worksheet162.xlsx"/><Relationship Id="rId2" Type="http://schemas.microsoft.com/office/2011/relationships/chartColorStyle" Target="colors40.xml"/><Relationship Id="rId1" Type="http://schemas.microsoft.com/office/2011/relationships/chartStyle" Target="style40.xml"/></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41.xml"/><Relationship Id="rId1" Type="http://schemas.microsoft.com/office/2011/relationships/chartStyle" Target="style41.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42.xml"/><Relationship Id="rId1" Type="http://schemas.microsoft.com/office/2011/relationships/chartStyle" Target="style42.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43.xml"/><Relationship Id="rId1" Type="http://schemas.microsoft.com/office/2011/relationships/chartStyle" Target="style43.xml"/></Relationships>
</file>

<file path=ppt/charts/_rels/chart167.xml.rels><?xml version="1.0" encoding="UTF-8" standalone="yes"?>
<Relationships xmlns="http://schemas.openxmlformats.org/package/2006/relationships"><Relationship Id="rId3" Type="http://schemas.openxmlformats.org/officeDocument/2006/relationships/package" Target="../embeddings/Microsoft_Excel_Worksheet166.xlsx"/><Relationship Id="rId2" Type="http://schemas.microsoft.com/office/2011/relationships/chartColorStyle" Target="colors44.xml"/><Relationship Id="rId1" Type="http://schemas.microsoft.com/office/2011/relationships/chartStyle" Target="style44.xml"/></Relationships>
</file>

<file path=ppt/charts/_rels/chart168.xml.rels><?xml version="1.0" encoding="UTF-8" standalone="yes"?>
<Relationships xmlns="http://schemas.openxmlformats.org/package/2006/relationships"><Relationship Id="rId3" Type="http://schemas.openxmlformats.org/officeDocument/2006/relationships/package" Target="../embeddings/Microsoft_Excel_Worksheet167.xlsx"/><Relationship Id="rId2" Type="http://schemas.microsoft.com/office/2011/relationships/chartColorStyle" Target="colors45.xml"/><Relationship Id="rId1" Type="http://schemas.microsoft.com/office/2011/relationships/chartStyle" Target="style45.xml"/></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46.xml"/><Relationship Id="rId1" Type="http://schemas.microsoft.com/office/2011/relationships/chartStyle" Target="style46.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47.xml"/><Relationship Id="rId1" Type="http://schemas.microsoft.com/office/2011/relationships/chartStyle" Target="style47.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48.xml"/><Relationship Id="rId1" Type="http://schemas.microsoft.com/office/2011/relationships/chartStyle" Target="style48.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49.xml"/><Relationship Id="rId1" Type="http://schemas.microsoft.com/office/2011/relationships/chartStyle" Target="style49.xml"/></Relationships>
</file>

<file path=ppt/charts/_rels/chart173.xml.rels><?xml version="1.0" encoding="UTF-8" standalone="yes"?>
<Relationships xmlns="http://schemas.openxmlformats.org/package/2006/relationships"><Relationship Id="rId3" Type="http://schemas.openxmlformats.org/officeDocument/2006/relationships/package" Target="../embeddings/Microsoft_Excel_Worksheet172.xlsx"/><Relationship Id="rId2" Type="http://schemas.microsoft.com/office/2011/relationships/chartColorStyle" Target="colors50.xml"/><Relationship Id="rId1" Type="http://schemas.microsoft.com/office/2011/relationships/chartStyle" Target="style50.xml"/></Relationships>
</file>

<file path=ppt/charts/_rels/chart174.xml.rels><?xml version="1.0" encoding="UTF-8" standalone="yes"?>
<Relationships xmlns="http://schemas.openxmlformats.org/package/2006/relationships"><Relationship Id="rId3" Type="http://schemas.openxmlformats.org/officeDocument/2006/relationships/package" Target="../embeddings/Microsoft_Excel_Worksheet173.xlsx"/><Relationship Id="rId2" Type="http://schemas.microsoft.com/office/2011/relationships/chartColorStyle" Target="colors51.xml"/><Relationship Id="rId1" Type="http://schemas.microsoft.com/office/2011/relationships/chartStyle" Target="style51.xml"/></Relationships>
</file>

<file path=ppt/charts/_rels/chart175.xml.rels><?xml version="1.0" encoding="UTF-8" standalone="yes"?>
<Relationships xmlns="http://schemas.openxmlformats.org/package/2006/relationships"><Relationship Id="rId3" Type="http://schemas.openxmlformats.org/officeDocument/2006/relationships/package" Target="../embeddings/Microsoft_Excel_Worksheet174.xlsx"/><Relationship Id="rId2" Type="http://schemas.microsoft.com/office/2011/relationships/chartColorStyle" Target="colors52.xml"/><Relationship Id="rId1" Type="http://schemas.microsoft.com/office/2011/relationships/chartStyle" Target="style52.xml"/></Relationships>
</file>

<file path=ppt/charts/_rels/chart176.xml.rels><?xml version="1.0" encoding="UTF-8" standalone="yes"?>
<Relationships xmlns="http://schemas.openxmlformats.org/package/2006/relationships"><Relationship Id="rId3" Type="http://schemas.openxmlformats.org/officeDocument/2006/relationships/package" Target="../embeddings/Microsoft_Excel_Worksheet175.xlsx"/><Relationship Id="rId2" Type="http://schemas.microsoft.com/office/2011/relationships/chartColorStyle" Target="colors53.xml"/><Relationship Id="rId1" Type="http://schemas.microsoft.com/office/2011/relationships/chartStyle" Target="style53.xml"/></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54.xml"/><Relationship Id="rId1" Type="http://schemas.microsoft.com/office/2011/relationships/chartStyle" Target="style54.xml"/></Relationships>
</file>

<file path=ppt/charts/_rels/chart178.xml.rels><?xml version="1.0" encoding="UTF-8" standalone="yes"?>
<Relationships xmlns="http://schemas.openxmlformats.org/package/2006/relationships"><Relationship Id="rId3" Type="http://schemas.openxmlformats.org/officeDocument/2006/relationships/package" Target="../embeddings/Microsoft_Excel_Worksheet177.xlsx"/><Relationship Id="rId2" Type="http://schemas.microsoft.com/office/2011/relationships/chartColorStyle" Target="colors55.xml"/><Relationship Id="rId1" Type="http://schemas.microsoft.com/office/2011/relationships/chartStyle" Target="style55.xml"/></Relationships>
</file>

<file path=ppt/charts/_rels/chart179.xml.rels><?xml version="1.0" encoding="UTF-8" standalone="yes"?>
<Relationships xmlns="http://schemas.openxmlformats.org/package/2006/relationships"><Relationship Id="rId3" Type="http://schemas.openxmlformats.org/officeDocument/2006/relationships/package" Target="../embeddings/Microsoft_Excel_Worksheet178.xlsx"/><Relationship Id="rId2" Type="http://schemas.microsoft.com/office/2011/relationships/chartColorStyle" Target="colors56.xml"/><Relationship Id="rId1" Type="http://schemas.microsoft.com/office/2011/relationships/chartStyle" Target="style56.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3" Type="http://schemas.openxmlformats.org/officeDocument/2006/relationships/package" Target="../embeddings/Microsoft_Excel_Worksheet179.xlsx"/><Relationship Id="rId2" Type="http://schemas.microsoft.com/office/2011/relationships/chartColorStyle" Target="colors57.xml"/><Relationship Id="rId1" Type="http://schemas.microsoft.com/office/2011/relationships/chartStyle" Target="style57.xml"/></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58.xml"/><Relationship Id="rId1" Type="http://schemas.microsoft.com/office/2011/relationships/chartStyle" Target="style58.xml"/></Relationships>
</file>

<file path=ppt/charts/_rels/chart182.xml.rels><?xml version="1.0" encoding="UTF-8" standalone="yes"?>
<Relationships xmlns="http://schemas.openxmlformats.org/package/2006/relationships"><Relationship Id="rId3" Type="http://schemas.openxmlformats.org/officeDocument/2006/relationships/package" Target="../embeddings/Microsoft_Excel_Worksheet181.xlsx"/><Relationship Id="rId2" Type="http://schemas.microsoft.com/office/2011/relationships/chartColorStyle" Target="colors59.xml"/><Relationship Id="rId1" Type="http://schemas.microsoft.com/office/2011/relationships/chartStyle" Target="style59.xml"/></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60.xml"/><Relationship Id="rId1" Type="http://schemas.microsoft.com/office/2011/relationships/chartStyle" Target="style60.xml"/></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61.xml"/><Relationship Id="rId1" Type="http://schemas.microsoft.com/office/2011/relationships/chartStyle" Target="style61.xml"/></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62.xml"/><Relationship Id="rId1" Type="http://schemas.microsoft.com/office/2011/relationships/chartStyle" Target="style62.xml"/></Relationships>
</file>

<file path=ppt/charts/_rels/chart186.xml.rels><?xml version="1.0" encoding="UTF-8" standalone="yes"?>
<Relationships xmlns="http://schemas.openxmlformats.org/package/2006/relationships"><Relationship Id="rId3" Type="http://schemas.openxmlformats.org/officeDocument/2006/relationships/package" Target="../embeddings/Microsoft_Excel_Worksheet185.xlsx"/><Relationship Id="rId2" Type="http://schemas.microsoft.com/office/2011/relationships/chartColorStyle" Target="colors63.xml"/><Relationship Id="rId1" Type="http://schemas.microsoft.com/office/2011/relationships/chartStyle" Target="style63.xml"/></Relationships>
</file>

<file path=ppt/charts/_rels/chart187.xml.rels><?xml version="1.0" encoding="UTF-8" standalone="yes"?>
<Relationships xmlns="http://schemas.openxmlformats.org/package/2006/relationships"><Relationship Id="rId3" Type="http://schemas.openxmlformats.org/officeDocument/2006/relationships/package" Target="../embeddings/Microsoft_Excel_Worksheet186.xlsx"/><Relationship Id="rId2" Type="http://schemas.microsoft.com/office/2011/relationships/chartColorStyle" Target="colors64.xml"/><Relationship Id="rId1" Type="http://schemas.microsoft.com/office/2011/relationships/chartStyle" Target="style64.xml"/></Relationships>
</file>

<file path=ppt/charts/_rels/chart188.xml.rels><?xml version="1.0" encoding="UTF-8" standalone="yes"?>
<Relationships xmlns="http://schemas.openxmlformats.org/package/2006/relationships"><Relationship Id="rId3" Type="http://schemas.openxmlformats.org/officeDocument/2006/relationships/package" Target="../embeddings/Microsoft_Excel_Worksheet187.xlsx"/><Relationship Id="rId2" Type="http://schemas.microsoft.com/office/2011/relationships/chartColorStyle" Target="colors65.xml"/><Relationship Id="rId1" Type="http://schemas.microsoft.com/office/2011/relationships/chartStyle" Target="style65.xml"/></Relationships>
</file>

<file path=ppt/charts/_rels/chart189.xml.rels><?xml version="1.0" encoding="UTF-8" standalone="yes"?>
<Relationships xmlns="http://schemas.openxmlformats.org/package/2006/relationships"><Relationship Id="rId3" Type="http://schemas.openxmlformats.org/officeDocument/2006/relationships/package" Target="../embeddings/Microsoft_Excel_Worksheet188.xlsx"/><Relationship Id="rId2" Type="http://schemas.microsoft.com/office/2011/relationships/chartColorStyle" Target="colors66.xml"/><Relationship Id="rId1" Type="http://schemas.microsoft.com/office/2011/relationships/chartStyle" Target="style66.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3" Type="http://schemas.openxmlformats.org/officeDocument/2006/relationships/package" Target="../embeddings/Microsoft_Excel_Worksheet189.xlsx"/><Relationship Id="rId2" Type="http://schemas.microsoft.com/office/2011/relationships/chartColorStyle" Target="colors67.xml"/><Relationship Id="rId1" Type="http://schemas.microsoft.com/office/2011/relationships/chartStyle" Target="style67.xml"/></Relationships>
</file>

<file path=ppt/charts/_rels/chart191.xml.rels><?xml version="1.0" encoding="UTF-8" standalone="yes"?>
<Relationships xmlns="http://schemas.openxmlformats.org/package/2006/relationships"><Relationship Id="rId3" Type="http://schemas.openxmlformats.org/officeDocument/2006/relationships/package" Target="../embeddings/Microsoft_Excel_Worksheet190.xlsx"/><Relationship Id="rId2" Type="http://schemas.microsoft.com/office/2011/relationships/chartColorStyle" Target="colors68.xml"/><Relationship Id="rId1" Type="http://schemas.microsoft.com/office/2011/relationships/chartStyle" Target="style68.xml"/></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69.xml"/><Relationship Id="rId1" Type="http://schemas.microsoft.com/office/2011/relationships/chartStyle" Target="style69.xml"/></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70.xml"/><Relationship Id="rId1" Type="http://schemas.microsoft.com/office/2011/relationships/chartStyle" Target="style70.xml"/></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71.xml"/><Relationship Id="rId1" Type="http://schemas.microsoft.com/office/2011/relationships/chartStyle" Target="style71.xml"/></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72.xml"/><Relationship Id="rId1" Type="http://schemas.microsoft.com/office/2011/relationships/chartStyle" Target="style72.xml"/></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73.xml"/><Relationship Id="rId1" Type="http://schemas.microsoft.com/office/2011/relationships/chartStyle" Target="style73.xml"/></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74.xml"/><Relationship Id="rId1" Type="http://schemas.microsoft.com/office/2011/relationships/chartStyle" Target="style74.xml"/></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75.xml"/><Relationship Id="rId1" Type="http://schemas.microsoft.com/office/2011/relationships/chartStyle" Target="style75.xml"/></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76.xml"/><Relationship Id="rId1" Type="http://schemas.microsoft.com/office/2011/relationships/chartStyle" Target="style76.xml"/></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77.xml"/><Relationship Id="rId1" Type="http://schemas.microsoft.com/office/2011/relationships/chartStyle" Target="style77.xml"/></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78.xml"/><Relationship Id="rId1" Type="http://schemas.microsoft.com/office/2011/relationships/chartStyle" Target="style78.xml"/></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79.xml"/><Relationship Id="rId1" Type="http://schemas.microsoft.com/office/2011/relationships/chartStyle" Target="style79.xml"/></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80.xml"/><Relationship Id="rId1" Type="http://schemas.microsoft.com/office/2011/relationships/chartStyle" Target="style80.xml"/></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81.xml"/><Relationship Id="rId1" Type="http://schemas.microsoft.com/office/2011/relationships/chartStyle" Target="style81.xml"/></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82.xml"/><Relationship Id="rId1" Type="http://schemas.microsoft.com/office/2011/relationships/chartStyle" Target="style82.xml"/></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83.xml"/><Relationship Id="rId1" Type="http://schemas.microsoft.com/office/2011/relationships/chartStyle" Target="style83.xml"/></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84.xml"/><Relationship Id="rId1" Type="http://schemas.microsoft.com/office/2011/relationships/chartStyle" Target="style84.xml"/></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3" Type="http://schemas.openxmlformats.org/officeDocument/2006/relationships/package" Target="../embeddings/Microsoft_Excel_Worksheet223.xlsx"/><Relationship Id="rId2" Type="http://schemas.microsoft.com/office/2011/relationships/chartColorStyle" Target="colors85.xml"/><Relationship Id="rId1" Type="http://schemas.microsoft.com/office/2011/relationships/chartStyle" Target="style85.xml"/></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86.xml"/><Relationship Id="rId1" Type="http://schemas.microsoft.com/office/2011/relationships/chartStyle" Target="style86.xml"/></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87.xml"/><Relationship Id="rId1" Type="http://schemas.microsoft.com/office/2011/relationships/chartStyle" Target="style87.xml"/></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88.xml"/><Relationship Id="rId1" Type="http://schemas.microsoft.com/office/2011/relationships/chartStyle" Target="style88.xml"/></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89.xml"/><Relationship Id="rId1" Type="http://schemas.microsoft.com/office/2011/relationships/chartStyle" Target="style89.xml"/></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90.xml"/><Relationship Id="rId1" Type="http://schemas.microsoft.com/office/2011/relationships/chartStyle" Target="style90.xml"/></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3" Type="http://schemas.openxmlformats.org/officeDocument/2006/relationships/package" Target="../embeddings/Microsoft_Excel_Worksheet247.xlsx"/><Relationship Id="rId2" Type="http://schemas.microsoft.com/office/2011/relationships/chartColorStyle" Target="colors91.xml"/><Relationship Id="rId1" Type="http://schemas.microsoft.com/office/2011/relationships/chartStyle" Target="style91.xml"/></Relationships>
</file>

<file path=ppt/charts/_rels/chart249.xml.rels><?xml version="1.0" encoding="UTF-8" standalone="yes"?>
<Relationships xmlns="http://schemas.openxmlformats.org/package/2006/relationships"><Relationship Id="rId3" Type="http://schemas.openxmlformats.org/officeDocument/2006/relationships/package" Target="../embeddings/Microsoft_Excel_Worksheet248.xlsx"/><Relationship Id="rId2" Type="http://schemas.microsoft.com/office/2011/relationships/chartColorStyle" Target="colors92.xml"/><Relationship Id="rId1" Type="http://schemas.microsoft.com/office/2011/relationships/chartStyle" Target="style9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xml"/><Relationship Id="rId1" Type="http://schemas.microsoft.com/office/2011/relationships/chartStyle" Target="style1.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93.xml"/><Relationship Id="rId1" Type="http://schemas.microsoft.com/office/2011/relationships/chartStyle" Target="style93.xml"/></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94.xml"/><Relationship Id="rId1" Type="http://schemas.microsoft.com/office/2011/relationships/chartStyle" Target="style94.xml"/></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95.xml"/><Relationship Id="rId1" Type="http://schemas.microsoft.com/office/2011/relationships/chartStyle" Target="style95.xml"/></Relationships>
</file>

<file path=ppt/charts/_rels/chart255.xml.rels><?xml version="1.0" encoding="UTF-8" standalone="yes"?>
<Relationships xmlns="http://schemas.openxmlformats.org/package/2006/relationships"><Relationship Id="rId3" Type="http://schemas.openxmlformats.org/officeDocument/2006/relationships/package" Target="../embeddings/Microsoft_Excel_Worksheet254.xlsx"/><Relationship Id="rId2" Type="http://schemas.microsoft.com/office/2011/relationships/chartColorStyle" Target="colors96.xml"/><Relationship Id="rId1" Type="http://schemas.microsoft.com/office/2011/relationships/chartStyle" Target="style96.xml"/></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97.xml"/><Relationship Id="rId1" Type="http://schemas.microsoft.com/office/2011/relationships/chartStyle" Target="style97.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98.xml"/><Relationship Id="rId1" Type="http://schemas.microsoft.com/office/2011/relationships/chartStyle" Target="style98.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xml"/><Relationship Id="rId1" Type="http://schemas.microsoft.com/office/2011/relationships/chartStyle" Target="style2.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99.xml"/><Relationship Id="rId1" Type="http://schemas.microsoft.com/office/2011/relationships/chartStyle" Target="style99.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100.xml"/><Relationship Id="rId1" Type="http://schemas.microsoft.com/office/2011/relationships/chartStyle" Target="style100.xml"/></Relationships>
</file>

<file path=ppt/charts/_rels/chart262.xml.rels><?xml version="1.0" encoding="UTF-8" standalone="yes"?>
<Relationships xmlns="http://schemas.openxmlformats.org/package/2006/relationships"><Relationship Id="rId3" Type="http://schemas.openxmlformats.org/officeDocument/2006/relationships/package" Target="../embeddings/Microsoft_Excel_Worksheet261.xlsx"/><Relationship Id="rId2" Type="http://schemas.microsoft.com/office/2011/relationships/chartColorStyle" Target="colors101.xml"/><Relationship Id="rId1" Type="http://schemas.microsoft.com/office/2011/relationships/chartStyle" Target="style101.xml"/></Relationships>
</file>

<file path=ppt/charts/_rels/chart263.xml.rels><?xml version="1.0" encoding="UTF-8" standalone="yes"?>
<Relationships xmlns="http://schemas.openxmlformats.org/package/2006/relationships"><Relationship Id="rId3" Type="http://schemas.openxmlformats.org/officeDocument/2006/relationships/package" Target="../embeddings/Microsoft_Excel_Worksheet262.xlsx"/><Relationship Id="rId2" Type="http://schemas.microsoft.com/office/2011/relationships/chartColorStyle" Target="colors102.xml"/><Relationship Id="rId1" Type="http://schemas.microsoft.com/office/2011/relationships/chartStyle" Target="style102.xml"/></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103.xml"/><Relationship Id="rId1" Type="http://schemas.microsoft.com/office/2011/relationships/chartStyle" Target="style103.xml"/></Relationships>
</file>

<file path=ppt/charts/_rels/chart265.xml.rels><?xml version="1.0" encoding="UTF-8" standalone="yes"?>
<Relationships xmlns="http://schemas.openxmlformats.org/package/2006/relationships"><Relationship Id="rId3" Type="http://schemas.openxmlformats.org/officeDocument/2006/relationships/package" Target="../embeddings/Microsoft_Excel_Worksheet264.xlsx"/><Relationship Id="rId2" Type="http://schemas.microsoft.com/office/2011/relationships/chartColorStyle" Target="colors104.xml"/><Relationship Id="rId1" Type="http://schemas.microsoft.com/office/2011/relationships/chartStyle" Target="style104.xml"/></Relationships>
</file>

<file path=ppt/charts/_rels/chart266.xml.rels><?xml version="1.0" encoding="UTF-8" standalone="yes"?>
<Relationships xmlns="http://schemas.openxmlformats.org/package/2006/relationships"><Relationship Id="rId3" Type="http://schemas.openxmlformats.org/officeDocument/2006/relationships/package" Target="../embeddings/Microsoft_Excel_Worksheet265.xlsx"/><Relationship Id="rId2" Type="http://schemas.microsoft.com/office/2011/relationships/chartColorStyle" Target="colors105.xml"/><Relationship Id="rId1" Type="http://schemas.microsoft.com/office/2011/relationships/chartStyle" Target="style105.xml"/></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3" Type="http://schemas.openxmlformats.org/officeDocument/2006/relationships/package" Target="../embeddings/Microsoft_Excel_Worksheet268.xlsx"/><Relationship Id="rId2" Type="http://schemas.microsoft.com/office/2011/relationships/chartColorStyle" Target="colors106.xml"/><Relationship Id="rId1" Type="http://schemas.microsoft.com/office/2011/relationships/chartStyle" Target="style10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107.xml"/><Relationship Id="rId1" Type="http://schemas.microsoft.com/office/2011/relationships/chartStyle" Target="style107.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108.xml"/><Relationship Id="rId1" Type="http://schemas.microsoft.com/office/2011/relationships/chartStyle" Target="style108.xml"/></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3" Type="http://schemas.openxmlformats.org/officeDocument/2006/relationships/package" Target="../embeddings/Microsoft_Excel_Worksheet273.xlsx"/><Relationship Id="rId2" Type="http://schemas.microsoft.com/office/2011/relationships/chartColorStyle" Target="colors109.xml"/><Relationship Id="rId1" Type="http://schemas.microsoft.com/office/2011/relationships/chartStyle" Target="style109.xml"/></Relationships>
</file>

<file path=ppt/charts/_rels/chart275.xml.rels><?xml version="1.0" encoding="UTF-8" standalone="yes"?>
<Relationships xmlns="http://schemas.openxmlformats.org/package/2006/relationships"><Relationship Id="rId3" Type="http://schemas.openxmlformats.org/officeDocument/2006/relationships/package" Target="../embeddings/Microsoft_Excel_Worksheet274.xlsx"/><Relationship Id="rId2" Type="http://schemas.microsoft.com/office/2011/relationships/chartColorStyle" Target="colors110.xml"/><Relationship Id="rId1" Type="http://schemas.microsoft.com/office/2011/relationships/chartStyle" Target="style110.xml"/></Relationships>
</file>

<file path=ppt/charts/_rels/chart276.xml.rels><?xml version="1.0" encoding="UTF-8" standalone="yes"?>
<Relationships xmlns="http://schemas.openxmlformats.org/package/2006/relationships"><Relationship Id="rId3" Type="http://schemas.openxmlformats.org/officeDocument/2006/relationships/package" Target="../embeddings/Microsoft_Excel_Worksheet275.xlsx"/><Relationship Id="rId2" Type="http://schemas.microsoft.com/office/2011/relationships/chartColorStyle" Target="colors111.xml"/><Relationship Id="rId1" Type="http://schemas.microsoft.com/office/2011/relationships/chartStyle" Target="style111.xml"/></Relationships>
</file>

<file path=ppt/charts/_rels/chart277.xml.rels><?xml version="1.0" encoding="UTF-8" standalone="yes"?>
<Relationships xmlns="http://schemas.openxmlformats.org/package/2006/relationships"><Relationship Id="rId3" Type="http://schemas.openxmlformats.org/officeDocument/2006/relationships/package" Target="../embeddings/Microsoft_Excel_Worksheet276.xlsx"/><Relationship Id="rId2" Type="http://schemas.microsoft.com/office/2011/relationships/chartColorStyle" Target="colors112.xml"/><Relationship Id="rId1" Type="http://schemas.microsoft.com/office/2011/relationships/chartStyle" Target="style112.xml"/></Relationships>
</file>

<file path=ppt/charts/_rels/chart278.xml.rels><?xml version="1.0" encoding="UTF-8" standalone="yes"?>
<Relationships xmlns="http://schemas.openxmlformats.org/package/2006/relationships"><Relationship Id="rId3" Type="http://schemas.openxmlformats.org/officeDocument/2006/relationships/package" Target="../embeddings/Microsoft_Excel_Worksheet277.xlsx"/><Relationship Id="rId2" Type="http://schemas.microsoft.com/office/2011/relationships/chartColorStyle" Target="colors113.xml"/><Relationship Id="rId1" Type="http://schemas.microsoft.com/office/2011/relationships/chartStyle" Target="style113.xml"/></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6.xml"/><Relationship Id="rId1" Type="http://schemas.microsoft.com/office/2011/relationships/chartStyle" Target="style6.xml"/></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3" Type="http://schemas.openxmlformats.org/officeDocument/2006/relationships/package" Target="../embeddings/Microsoft_Excel_Worksheet302.xlsx"/><Relationship Id="rId2" Type="http://schemas.microsoft.com/office/2011/relationships/chartColorStyle" Target="colors114.xml"/><Relationship Id="rId1" Type="http://schemas.microsoft.com/office/2011/relationships/chartStyle" Target="style114.xml"/></Relationships>
</file>

<file path=ppt/charts/_rels/chart304.xml.rels><?xml version="1.0" encoding="UTF-8" standalone="yes"?>
<Relationships xmlns="http://schemas.openxmlformats.org/package/2006/relationships"><Relationship Id="rId3" Type="http://schemas.openxmlformats.org/officeDocument/2006/relationships/package" Target="../embeddings/Microsoft_Excel_Worksheet303.xlsx"/><Relationship Id="rId2" Type="http://schemas.microsoft.com/office/2011/relationships/chartColorStyle" Target="colors115.xml"/><Relationship Id="rId1" Type="http://schemas.microsoft.com/office/2011/relationships/chartStyle" Target="style115.xml"/></Relationships>
</file>

<file path=ppt/charts/_rels/chart305.xml.rels><?xml version="1.0" encoding="UTF-8" standalone="yes"?>
<Relationships xmlns="http://schemas.openxmlformats.org/package/2006/relationships"><Relationship Id="rId3" Type="http://schemas.openxmlformats.org/officeDocument/2006/relationships/package" Target="../embeddings/Microsoft_Excel_Worksheet304.xlsx"/><Relationship Id="rId2" Type="http://schemas.microsoft.com/office/2011/relationships/chartColorStyle" Target="colors116.xml"/><Relationship Id="rId1" Type="http://schemas.microsoft.com/office/2011/relationships/chartStyle" Target="style116.xml"/></Relationships>
</file>

<file path=ppt/charts/_rels/chart306.xml.rels><?xml version="1.0" encoding="UTF-8" standalone="yes"?>
<Relationships xmlns="http://schemas.openxmlformats.org/package/2006/relationships"><Relationship Id="rId3" Type="http://schemas.openxmlformats.org/officeDocument/2006/relationships/package" Target="../embeddings/Microsoft_Excel_Worksheet305.xlsx"/><Relationship Id="rId2" Type="http://schemas.microsoft.com/office/2011/relationships/chartColorStyle" Target="colors117.xml"/><Relationship Id="rId1" Type="http://schemas.microsoft.com/office/2011/relationships/chartStyle" Target="style117.xml"/></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118.xml"/><Relationship Id="rId1" Type="http://schemas.microsoft.com/office/2011/relationships/chartStyle" Target="style118.xml"/></Relationships>
</file>

<file path=ppt/charts/_rels/chart308.xml.rels><?xml version="1.0" encoding="UTF-8" standalone="yes"?>
<Relationships xmlns="http://schemas.openxmlformats.org/package/2006/relationships"><Relationship Id="rId3" Type="http://schemas.openxmlformats.org/officeDocument/2006/relationships/package" Target="../embeddings/Microsoft_Excel_Worksheet307.xlsx"/><Relationship Id="rId2" Type="http://schemas.microsoft.com/office/2011/relationships/chartColorStyle" Target="colors119.xml"/><Relationship Id="rId1" Type="http://schemas.microsoft.com/office/2011/relationships/chartStyle" Target="style119.xml"/></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7.xml"/><Relationship Id="rId1" Type="http://schemas.microsoft.com/office/2011/relationships/chartStyle" Target="style7.xml"/></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8.xml"/><Relationship Id="rId1" Type="http://schemas.microsoft.com/office/2011/relationships/chartStyle" Target="style8.xml"/></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3" Type="http://schemas.openxmlformats.org/officeDocument/2006/relationships/package" Target="../embeddings/Microsoft_Excel_Worksheet320.xlsx"/><Relationship Id="rId2" Type="http://schemas.microsoft.com/office/2011/relationships/chartColorStyle" Target="colors120.xml"/><Relationship Id="rId1" Type="http://schemas.microsoft.com/office/2011/relationships/chartStyle" Target="style120.xml"/></Relationships>
</file>

<file path=ppt/charts/_rels/chart322.xml.rels><?xml version="1.0" encoding="UTF-8" standalone="yes"?>
<Relationships xmlns="http://schemas.openxmlformats.org/package/2006/relationships"><Relationship Id="rId3" Type="http://schemas.openxmlformats.org/officeDocument/2006/relationships/package" Target="../embeddings/Microsoft_Excel_Worksheet321.xlsx"/><Relationship Id="rId2" Type="http://schemas.microsoft.com/office/2011/relationships/chartColorStyle" Target="colors121.xml"/><Relationship Id="rId1" Type="http://schemas.microsoft.com/office/2011/relationships/chartStyle" Target="style121.xml"/></Relationships>
</file>

<file path=ppt/charts/_rels/chart323.xml.rels><?xml version="1.0" encoding="UTF-8" standalone="yes"?>
<Relationships xmlns="http://schemas.openxmlformats.org/package/2006/relationships"><Relationship Id="rId3" Type="http://schemas.openxmlformats.org/officeDocument/2006/relationships/package" Target="../embeddings/Microsoft_Excel_Worksheet322.xlsx"/><Relationship Id="rId2" Type="http://schemas.microsoft.com/office/2011/relationships/chartColorStyle" Target="colors122.xml"/><Relationship Id="rId1" Type="http://schemas.microsoft.com/office/2011/relationships/chartStyle" Target="style122.xml"/></Relationships>
</file>

<file path=ppt/charts/_rels/chart324.xml.rels><?xml version="1.0" encoding="UTF-8" standalone="yes"?>
<Relationships xmlns="http://schemas.openxmlformats.org/package/2006/relationships"><Relationship Id="rId3" Type="http://schemas.openxmlformats.org/officeDocument/2006/relationships/package" Target="../embeddings/Microsoft_Excel_Worksheet323.xlsx"/><Relationship Id="rId2" Type="http://schemas.microsoft.com/office/2011/relationships/chartColorStyle" Target="colors123.xml"/><Relationship Id="rId1" Type="http://schemas.microsoft.com/office/2011/relationships/chartStyle" Target="style123.xml"/></Relationships>
</file>

<file path=ppt/charts/_rels/chart325.xml.rels><?xml version="1.0" encoding="UTF-8" standalone="yes"?>
<Relationships xmlns="http://schemas.openxmlformats.org/package/2006/relationships"><Relationship Id="rId3" Type="http://schemas.openxmlformats.org/officeDocument/2006/relationships/package" Target="../embeddings/Microsoft_Excel_Worksheet324.xlsx"/><Relationship Id="rId2" Type="http://schemas.microsoft.com/office/2011/relationships/chartColorStyle" Target="colors124.xml"/><Relationship Id="rId1" Type="http://schemas.microsoft.com/office/2011/relationships/chartStyle" Target="style124.xml"/></Relationships>
</file>

<file path=ppt/charts/_rels/chart326.xml.rels><?xml version="1.0" encoding="UTF-8" standalone="yes"?>
<Relationships xmlns="http://schemas.openxmlformats.org/package/2006/relationships"><Relationship Id="rId3" Type="http://schemas.openxmlformats.org/officeDocument/2006/relationships/package" Target="../embeddings/Microsoft_Excel_Worksheet325.xlsx"/><Relationship Id="rId2" Type="http://schemas.microsoft.com/office/2011/relationships/chartColorStyle" Target="colors125.xml"/><Relationship Id="rId1" Type="http://schemas.microsoft.com/office/2011/relationships/chartStyle" Target="style125.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9.xml"/><Relationship Id="rId1" Type="http://schemas.microsoft.com/office/2011/relationships/chartStyle" Target="style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0.xml"/><Relationship Id="rId1" Type="http://schemas.microsoft.com/office/2011/relationships/chartStyle" Target="style1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11.xml"/><Relationship Id="rId1" Type="http://schemas.microsoft.com/office/2011/relationships/chartStyle" Target="style1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2.xml"/><Relationship Id="rId1" Type="http://schemas.microsoft.com/office/2011/relationships/chartStyle" Target="style1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3.xml"/><Relationship Id="rId1" Type="http://schemas.microsoft.com/office/2011/relationships/chartStyle" Target="style1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4.xml"/><Relationship Id="rId1" Type="http://schemas.microsoft.com/office/2011/relationships/chartStyle" Target="style1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5.xml"/><Relationship Id="rId1" Type="http://schemas.microsoft.com/office/2011/relationships/chartStyle" Target="style1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16.xml"/><Relationship Id="rId1" Type="http://schemas.microsoft.com/office/2011/relationships/chartStyle" Target="style1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7.xml"/><Relationship Id="rId1" Type="http://schemas.microsoft.com/office/2011/relationships/chartStyle" Target="style1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8.xml"/><Relationship Id="rId1" Type="http://schemas.microsoft.com/office/2011/relationships/chartStyle" Target="style18.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4.0613590510432109</c:v>
                </c:pt>
                <c:pt idx="1">
                  <c:v>6.7177420213372665</c:v>
                </c:pt>
                <c:pt idx="2">
                  <c:v>1.0934879901515977</c:v>
                </c:pt>
                <c:pt idx="3">
                  <c:v>-0.7943759315237866</c:v>
                </c:pt>
                <c:pt idx="4">
                  <c:v>-0.8522816284738411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c:v>
                </c:pt>
                <c:pt idx="1">
                  <c:v>Schick</c:v>
                </c:pt>
                <c:pt idx="2">
                  <c:v>Gillette</c:v>
                </c:pt>
                <c:pt idx="3">
                  <c:v>Harry's</c:v>
                </c:pt>
                <c:pt idx="4">
                  <c:v>Bic</c:v>
                </c:pt>
                <c:pt idx="5">
                  <c:v>Dollar Shave Club</c:v>
                </c:pt>
              </c:strCache>
            </c:strRef>
          </c:cat>
          <c:val>
            <c:numRef>
              <c:f>Sheet1!$B$2:$B$7</c:f>
              <c:numCache>
                <c:formatCode>General</c:formatCode>
                <c:ptCount val="6"/>
                <c:pt idx="0">
                  <c:v>0.4800599895758938</c:v>
                </c:pt>
                <c:pt idx="1">
                  <c:v>0.4936541585792204</c:v>
                </c:pt>
                <c:pt idx="2">
                  <c:v>0.63660508691021123</c:v>
                </c:pt>
                <c:pt idx="3">
                  <c:v>0.76728058932798959</c:v>
                </c:pt>
                <c:pt idx="4">
                  <c:v>0.21534982182334902</c:v>
                </c:pt>
                <c:pt idx="5">
                  <c:v>0.4662158204314625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c:v>
                </c:pt>
                <c:pt idx="1">
                  <c:v>Schick</c:v>
                </c:pt>
                <c:pt idx="2">
                  <c:v>Gillette</c:v>
                </c:pt>
                <c:pt idx="3">
                  <c:v>Harry's</c:v>
                </c:pt>
                <c:pt idx="4">
                  <c:v>Bic</c:v>
                </c:pt>
                <c:pt idx="5">
                  <c:v>Dollar Shave Club</c:v>
                </c:pt>
              </c:strCache>
            </c:strRef>
          </c:cat>
          <c:val>
            <c:numRef>
              <c:f>Sheet1!$C$2:$C$7</c:f>
              <c:numCache>
                <c:formatCode>General</c:formatCode>
                <c:ptCount val="6"/>
                <c:pt idx="0">
                  <c:v>0.5199400104241062</c:v>
                </c:pt>
                <c:pt idx="1">
                  <c:v>0.50634584142077954</c:v>
                </c:pt>
                <c:pt idx="2">
                  <c:v>0.36339491308978877</c:v>
                </c:pt>
                <c:pt idx="3">
                  <c:v>0.23271941067201041</c:v>
                </c:pt>
                <c:pt idx="4">
                  <c:v>0.78465017817665095</c:v>
                </c:pt>
                <c:pt idx="5">
                  <c:v>0.533784179568537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chick</c:v>
                </c:pt>
                <c:pt idx="1">
                  <c:v>Equate</c:v>
                </c:pt>
                <c:pt idx="2">
                  <c:v>Gillette</c:v>
                </c:pt>
                <c:pt idx="3">
                  <c:v>Harry's</c:v>
                </c:pt>
                <c:pt idx="4">
                  <c:v>Bic</c:v>
                </c:pt>
                <c:pt idx="5">
                  <c:v>Dollar Shave Club</c:v>
                </c:pt>
              </c:strCache>
            </c:strRef>
          </c:cat>
          <c:val>
            <c:numRef>
              <c:f>Sheet1!$B$2:$B$7</c:f>
              <c:numCache>
                <c:formatCode>General</c:formatCode>
                <c:ptCount val="6"/>
                <c:pt idx="0">
                  <c:v>0.41235092560402192</c:v>
                </c:pt>
                <c:pt idx="1">
                  <c:v>0.22957398641695823</c:v>
                </c:pt>
                <c:pt idx="2">
                  <c:v>0.42881235493349873</c:v>
                </c:pt>
                <c:pt idx="3">
                  <c:v>0.76754734284444692</c:v>
                </c:pt>
                <c:pt idx="4">
                  <c:v>4.1633451649207863E-2</c:v>
                </c:pt>
                <c:pt idx="5">
                  <c:v>0.8919270151618904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chick</c:v>
                </c:pt>
                <c:pt idx="1">
                  <c:v>Equate</c:v>
                </c:pt>
                <c:pt idx="2">
                  <c:v>Gillette</c:v>
                </c:pt>
                <c:pt idx="3">
                  <c:v>Harry's</c:v>
                </c:pt>
                <c:pt idx="4">
                  <c:v>Bic</c:v>
                </c:pt>
                <c:pt idx="5">
                  <c:v>Dollar Shave Club</c:v>
                </c:pt>
              </c:strCache>
            </c:strRef>
          </c:cat>
          <c:val>
            <c:numRef>
              <c:f>Sheet1!$C$2:$C$7</c:f>
              <c:numCache>
                <c:formatCode>General</c:formatCode>
                <c:ptCount val="6"/>
                <c:pt idx="0">
                  <c:v>0.58764907439597813</c:v>
                </c:pt>
                <c:pt idx="1">
                  <c:v>0.77042601358304175</c:v>
                </c:pt>
                <c:pt idx="2">
                  <c:v>0.57118764506650122</c:v>
                </c:pt>
                <c:pt idx="3">
                  <c:v>0.23245265715555308</c:v>
                </c:pt>
                <c:pt idx="4">
                  <c:v>0.95836654835079216</c:v>
                </c:pt>
                <c:pt idx="5">
                  <c:v>0.10807298483810956</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0">
                  <c:v>0.91863050166626214</c:v>
                </c:pt>
                <c:pt idx="1">
                  <c:v>0.1348771711615597</c:v>
                </c:pt>
                <c:pt idx="2">
                  <c:v>0.7142081559974458</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C$2:$C$5</c:f>
              <c:numCache>
                <c:formatCode>General</c:formatCode>
                <c:ptCount val="4"/>
                <c:pt idx="0">
                  <c:v>8.1369498333737855E-2</c:v>
                </c:pt>
                <c:pt idx="1">
                  <c:v>0.86512282883844027</c:v>
                </c:pt>
                <c:pt idx="2">
                  <c:v>0.2857918440025542</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0">
                  <c:v>0.91863050166626214</c:v>
                </c:pt>
                <c:pt idx="1">
                  <c:v>0.1348771711615597</c:v>
                </c:pt>
                <c:pt idx="2">
                  <c:v>0.7142081559974458</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C$2:$C$5</c:f>
              <c:numCache>
                <c:formatCode>General</c:formatCode>
                <c:ptCount val="4"/>
                <c:pt idx="0">
                  <c:v>8.1369498333737855E-2</c:v>
                </c:pt>
                <c:pt idx="1">
                  <c:v>0.86512282883844027</c:v>
                </c:pt>
                <c:pt idx="2">
                  <c:v>0.2857918440025542</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Gillette</c:v>
                </c:pt>
                <c:pt idx="2">
                  <c:v>Harry's</c:v>
                </c:pt>
                <c:pt idx="3">
                  <c:v>Dollar Shave Club</c:v>
                </c:pt>
              </c:strCache>
            </c:strRef>
          </c:cat>
          <c:val>
            <c:numRef>
              <c:f>Sheet1!$B$2:$B$5</c:f>
              <c:numCache>
                <c:formatCode>General</c:formatCode>
                <c:ptCount val="4"/>
                <c:pt idx="0">
                  <c:v>1</c:v>
                </c:pt>
                <c:pt idx="1">
                  <c:v>0.42474603711793024</c:v>
                </c:pt>
                <c:pt idx="2">
                  <c:v>0.61019626426568729</c:v>
                </c:pt>
                <c:pt idx="3">
                  <c:v>0.9998621467092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Gillette</c:v>
                </c:pt>
                <c:pt idx="2">
                  <c:v>Harry's</c:v>
                </c:pt>
                <c:pt idx="3">
                  <c:v>Dollar Shave Club</c:v>
                </c:pt>
              </c:strCache>
            </c:strRef>
          </c:cat>
          <c:val>
            <c:numRef>
              <c:f>Sheet1!$C$2:$C$5</c:f>
              <c:numCache>
                <c:formatCode>General</c:formatCode>
                <c:ptCount val="4"/>
                <c:pt idx="0">
                  <c:v>0</c:v>
                </c:pt>
                <c:pt idx="1">
                  <c:v>0.57525396288206976</c:v>
                </c:pt>
                <c:pt idx="2">
                  <c:v>0.38980373573431271</c:v>
                </c:pt>
                <c:pt idx="3">
                  <c:v>1.3785329074700314E-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c:v>
                </c:pt>
                <c:pt idx="1">
                  <c:v>Equate</c:v>
                </c:pt>
                <c:pt idx="2">
                  <c:v>Gillette</c:v>
                </c:pt>
                <c:pt idx="3">
                  <c:v>Harry's</c:v>
                </c:pt>
                <c:pt idx="4">
                  <c:v>Dollar Shave Club</c:v>
                </c:pt>
              </c:strCache>
            </c:strRef>
          </c:cat>
          <c:val>
            <c:numRef>
              <c:f>Sheet1!$B$2:$B$6</c:f>
              <c:numCache>
                <c:formatCode>General</c:formatCode>
                <c:ptCount val="5"/>
                <c:pt idx="0">
                  <c:v>0.60644332995260775</c:v>
                </c:pt>
                <c:pt idx="1">
                  <c:v>0.27151222724929841</c:v>
                </c:pt>
                <c:pt idx="2">
                  <c:v>2.6621773530429296E-2</c:v>
                </c:pt>
                <c:pt idx="3">
                  <c:v>0.64038562250595621</c:v>
                </c:pt>
                <c:pt idx="4">
                  <c:v>0.7976303556894579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c:v>
                </c:pt>
                <c:pt idx="1">
                  <c:v>Equate</c:v>
                </c:pt>
                <c:pt idx="2">
                  <c:v>Gillette</c:v>
                </c:pt>
                <c:pt idx="3">
                  <c:v>Harry's</c:v>
                </c:pt>
                <c:pt idx="4">
                  <c:v>Dollar Shave Club</c:v>
                </c:pt>
              </c:strCache>
            </c:strRef>
          </c:cat>
          <c:val>
            <c:numRef>
              <c:f>Sheet1!$C$2:$C$6</c:f>
              <c:numCache>
                <c:formatCode>General</c:formatCode>
                <c:ptCount val="5"/>
                <c:pt idx="0">
                  <c:v>0.39355667004739225</c:v>
                </c:pt>
                <c:pt idx="1">
                  <c:v>0.72848777275070153</c:v>
                </c:pt>
                <c:pt idx="2">
                  <c:v>0.97337822646957073</c:v>
                </c:pt>
                <c:pt idx="3">
                  <c:v>0.35961437749404379</c:v>
                </c:pt>
                <c:pt idx="4">
                  <c:v>0.202369644310542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1">
                  <c:v>0.87</c:v>
                </c:pt>
                <c:pt idx="4">
                  <c:v>0.43</c:v>
                </c:pt>
                <c:pt idx="6">
                  <c:v>0.2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1</c:v>
                </c:pt>
                <c:pt idx="1">
                  <c:v>0.13</c:v>
                </c:pt>
                <c:pt idx="2">
                  <c:v>1</c:v>
                </c:pt>
                <c:pt idx="3">
                  <c:v>1</c:v>
                </c:pt>
                <c:pt idx="5">
                  <c:v>1</c:v>
                </c:pt>
                <c:pt idx="6">
                  <c:v>0.79</c:v>
                </c:pt>
                <c:pt idx="7">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4">
                  <c:v>0.0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E$2:$E$9</c:f>
              <c:numCache>
                <c:formatCode>General</c:formatCode>
                <c:ptCount val="8"/>
                <c:pt idx="4">
                  <c:v>0.560000000000000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1">
                  <c:v>0.88</c:v>
                </c:pt>
                <c:pt idx="3">
                  <c:v>0.28000000000000003</c:v>
                </c:pt>
                <c:pt idx="6">
                  <c:v>0.2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1</c:v>
                </c:pt>
                <c:pt idx="1">
                  <c:v>0.12</c:v>
                </c:pt>
                <c:pt idx="2">
                  <c:v>1</c:v>
                </c:pt>
                <c:pt idx="4">
                  <c:v>1</c:v>
                </c:pt>
                <c:pt idx="5">
                  <c:v>1</c:v>
                </c:pt>
                <c:pt idx="6">
                  <c:v>0.79</c:v>
                </c:pt>
                <c:pt idx="7">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3">
                  <c:v>0.0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E$2:$E$9</c:f>
              <c:numCache>
                <c:formatCode>General</c:formatCode>
                <c:ptCount val="8"/>
                <c:pt idx="3">
                  <c:v>0.7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02</c:v>
                </c:pt>
                <c:pt idx="3">
                  <c:v>0.79</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0.98</c:v>
                </c:pt>
                <c:pt idx="1">
                  <c:v>1</c:v>
                </c:pt>
                <c:pt idx="2">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3">
                  <c:v>0.2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02</c:v>
                </c:pt>
                <c:pt idx="3">
                  <c:v>0.79</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0.98</c:v>
                </c:pt>
                <c:pt idx="1">
                  <c:v>1</c:v>
                </c:pt>
                <c:pt idx="2">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3">
                  <c:v>0.2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1">
                  <c:v>0.52</c:v>
                </c:pt>
                <c:pt idx="2">
                  <c:v>0.3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 + 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UNDEFINED</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1</c:v>
                </c:pt>
                <c:pt idx="1">
                  <c:v>0.48</c:v>
                </c:pt>
                <c:pt idx="3">
                  <c:v>1</c:v>
                </c:pt>
                <c:pt idx="4">
                  <c:v>1</c:v>
                </c:pt>
                <c:pt idx="5">
                  <c:v>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E$2:$E$7</c:f>
              <c:numCache>
                <c:formatCode>General</c:formatCode>
                <c:ptCount val="6"/>
                <c:pt idx="2">
                  <c:v>0.6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1">
                  <c:v>1</c:v>
                </c:pt>
                <c:pt idx="2">
                  <c:v>0.24</c:v>
                </c:pt>
                <c:pt idx="5">
                  <c:v>0.2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1</c:v>
                </c:pt>
                <c:pt idx="3">
                  <c:v>1</c:v>
                </c:pt>
                <c:pt idx="4">
                  <c:v>1</c:v>
                </c:pt>
                <c:pt idx="5">
                  <c:v>0.78</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2">
                  <c:v>0.0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E$2:$E$7</c:f>
              <c:numCache>
                <c:formatCode>General</c:formatCode>
                <c:ptCount val="6"/>
                <c:pt idx="2">
                  <c:v>0.7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7135</c:v>
                </c:pt>
                <c:pt idx="39">
                  <c:v>18098</c:v>
                </c:pt>
                <c:pt idx="40">
                  <c:v>13315</c:v>
                </c:pt>
                <c:pt idx="41">
                  <c:v>99040</c:v>
                </c:pt>
                <c:pt idx="42">
                  <c:v>106006</c:v>
                </c:pt>
                <c:pt idx="43">
                  <c:v>92756</c:v>
                </c:pt>
                <c:pt idx="44">
                  <c:v>367107</c:v>
                </c:pt>
                <c:pt idx="45">
                  <c:v>345022</c:v>
                </c:pt>
                <c:pt idx="46">
                  <c:v>311875</c:v>
                </c:pt>
                <c:pt idx="47">
                  <c:v>101117</c:v>
                </c:pt>
                <c:pt idx="48">
                  <c:v>90338</c:v>
                </c:pt>
                <c:pt idx="49">
                  <c:v>107079</c:v>
                </c:pt>
                <c:pt idx="50">
                  <c:v>222973</c:v>
                </c:pt>
                <c:pt idx="51">
                  <c:v>317742</c:v>
                </c:pt>
                <c:pt idx="52">
                  <c:v>355345</c:v>
                </c:pt>
                <c:pt idx="53">
                  <c:v>408148</c:v>
                </c:pt>
                <c:pt idx="54">
                  <c:v>359559</c:v>
                </c:pt>
                <c:pt idx="55">
                  <c:v>314110</c:v>
                </c:pt>
                <c:pt idx="56">
                  <c:v>26478</c:v>
                </c:pt>
                <c:pt idx="57">
                  <c:v>26597</c:v>
                </c:pt>
                <c:pt idx="58">
                  <c:v>21766</c:v>
                </c:pt>
                <c:pt idx="59">
                  <c:v>25659</c:v>
                </c:pt>
                <c:pt idx="60">
                  <c:v>77392</c:v>
                </c:pt>
                <c:pt idx="61">
                  <c:v>99384</c:v>
                </c:pt>
                <c:pt idx="62">
                  <c:v>72037</c:v>
                </c:pt>
                <c:pt idx="63">
                  <c:v>24860</c:v>
                </c:pt>
                <c:pt idx="64">
                  <c:v>10502</c:v>
                </c:pt>
                <c:pt idx="65">
                  <c:v>84125</c:v>
                </c:pt>
                <c:pt idx="66">
                  <c:v>183097</c:v>
                </c:pt>
                <c:pt idx="67">
                  <c:v>171577</c:v>
                </c:pt>
                <c:pt idx="68">
                  <c:v>103577</c:v>
                </c:pt>
                <c:pt idx="69">
                  <c:v>53987</c:v>
                </c:pt>
                <c:pt idx="70">
                  <c:v>36053</c:v>
                </c:pt>
                <c:pt idx="71">
                  <c:v>61765</c:v>
                </c:pt>
                <c:pt idx="72">
                  <c:v>51959</c:v>
                </c:pt>
                <c:pt idx="73">
                  <c:v>193830</c:v>
                </c:pt>
                <c:pt idx="74">
                  <c:v>238159</c:v>
                </c:pt>
                <c:pt idx="75">
                  <c:v>236593</c:v>
                </c:pt>
                <c:pt idx="76">
                  <c:v>230309</c:v>
                </c:pt>
                <c:pt idx="77">
                  <c:v>228007</c:v>
                </c:pt>
                <c:pt idx="78">
                  <c:v>227491</c:v>
                </c:pt>
                <c:pt idx="79">
                  <c:v>26241</c:v>
                </c:pt>
                <c:pt idx="80">
                  <c:v>1270</c:v>
                </c:pt>
                <c:pt idx="81">
                  <c:v>1368</c:v>
                </c:pt>
                <c:pt idx="82">
                  <c:v>49312</c:v>
                </c:pt>
                <c:pt idx="83">
                  <c:v>56195</c:v>
                </c:pt>
                <c:pt idx="84">
                  <c:v>61690</c:v>
                </c:pt>
                <c:pt idx="85">
                  <c:v>54826</c:v>
                </c:pt>
                <c:pt idx="86">
                  <c:v>13618</c:v>
                </c:pt>
                <c:pt idx="87">
                  <c:v>14642</c:v>
                </c:pt>
                <c:pt idx="88">
                  <c:v>13438</c:v>
                </c:pt>
                <c:pt idx="89">
                  <c:v>14613</c:v>
                </c:pt>
                <c:pt idx="90">
                  <c:v>15617</c:v>
                </c:pt>
                <c:pt idx="91">
                  <c:v>1307</c:v>
                </c:pt>
                <c:pt idx="92">
                  <c:v>910</c:v>
                </c:pt>
                <c:pt idx="93">
                  <c:v>46520</c:v>
                </c:pt>
                <c:pt idx="94">
                  <c:v>54916</c:v>
                </c:pt>
                <c:pt idx="95">
                  <c:v>247723</c:v>
                </c:pt>
                <c:pt idx="96">
                  <c:v>259457</c:v>
                </c:pt>
                <c:pt idx="97">
                  <c:v>248536</c:v>
                </c:pt>
                <c:pt idx="98">
                  <c:v>241752</c:v>
                </c:pt>
                <c:pt idx="99">
                  <c:v>221995</c:v>
                </c:pt>
                <c:pt idx="100">
                  <c:v>189946</c:v>
                </c:pt>
                <c:pt idx="101">
                  <c:v>56518</c:v>
                </c:pt>
                <c:pt idx="102">
                  <c:v>76281</c:v>
                </c:pt>
                <c:pt idx="103">
                  <c:v>65335</c:v>
                </c:pt>
                <c:pt idx="104">
                  <c:v>201725</c:v>
                </c:pt>
                <c:pt idx="105">
                  <c:v>281649</c:v>
                </c:pt>
                <c:pt idx="106">
                  <c:v>297077</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5825</c:v>
                </c:pt>
                <c:pt idx="41">
                  <c:v>205352</c:v>
                </c:pt>
                <c:pt idx="42">
                  <c:v>203403</c:v>
                </c:pt>
                <c:pt idx="43">
                  <c:v>261794</c:v>
                </c:pt>
                <c:pt idx="44">
                  <c:v>103</c:v>
                </c:pt>
                <c:pt idx="45">
                  <c:v>40</c:v>
                </c:pt>
                <c:pt idx="46">
                  <c:v>456</c:v>
                </c:pt>
                <c:pt idx="47">
                  <c:v>186849</c:v>
                </c:pt>
                <c:pt idx="48">
                  <c:v>227013</c:v>
                </c:pt>
                <c:pt idx="49">
                  <c:v>227849</c:v>
                </c:pt>
                <c:pt idx="50">
                  <c:v>226010</c:v>
                </c:pt>
                <c:pt idx="51">
                  <c:v>780</c:v>
                </c:pt>
                <c:pt idx="52">
                  <c:v>117</c:v>
                </c:pt>
                <c:pt idx="53">
                  <c:v>51</c:v>
                </c:pt>
                <c:pt idx="54">
                  <c:v>96</c:v>
                </c:pt>
                <c:pt idx="55">
                  <c:v>9508</c:v>
                </c:pt>
                <c:pt idx="56">
                  <c:v>250418</c:v>
                </c:pt>
                <c:pt idx="57">
                  <c:v>240158</c:v>
                </c:pt>
                <c:pt idx="58">
                  <c:v>221312</c:v>
                </c:pt>
                <c:pt idx="59">
                  <c:v>248756</c:v>
                </c:pt>
                <c:pt idx="60">
                  <c:v>220819</c:v>
                </c:pt>
                <c:pt idx="61">
                  <c:v>212413</c:v>
                </c:pt>
                <c:pt idx="62">
                  <c:v>230323</c:v>
                </c:pt>
                <c:pt idx="63">
                  <c:v>247648</c:v>
                </c:pt>
                <c:pt idx="64">
                  <c:v>260415</c:v>
                </c:pt>
                <c:pt idx="65">
                  <c:v>169548</c:v>
                </c:pt>
                <c:pt idx="66">
                  <c:v>120659</c:v>
                </c:pt>
                <c:pt idx="67">
                  <c:v>131631</c:v>
                </c:pt>
                <c:pt idx="68">
                  <c:v>157361</c:v>
                </c:pt>
                <c:pt idx="69">
                  <c:v>174276</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996</c:v>
                </c:pt>
                <c:pt idx="39">
                  <c:v>291454</c:v>
                </c:pt>
                <c:pt idx="40">
                  <c:v>289140</c:v>
                </c:pt>
                <c:pt idx="41">
                  <c:v>304392</c:v>
                </c:pt>
                <c:pt idx="42">
                  <c:v>309409</c:v>
                </c:pt>
                <c:pt idx="43">
                  <c:v>354550</c:v>
                </c:pt>
                <c:pt idx="44">
                  <c:v>367210</c:v>
                </c:pt>
                <c:pt idx="45">
                  <c:v>345062</c:v>
                </c:pt>
                <c:pt idx="46">
                  <c:v>312331</c:v>
                </c:pt>
                <c:pt idx="47">
                  <c:v>287966</c:v>
                </c:pt>
                <c:pt idx="48">
                  <c:v>317351</c:v>
                </c:pt>
                <c:pt idx="49">
                  <c:v>334928</c:v>
                </c:pt>
                <c:pt idx="50">
                  <c:v>448983</c:v>
                </c:pt>
                <c:pt idx="51">
                  <c:v>318522</c:v>
                </c:pt>
                <c:pt idx="52">
                  <c:v>355462</c:v>
                </c:pt>
                <c:pt idx="53">
                  <c:v>408199</c:v>
                </c:pt>
                <c:pt idx="54">
                  <c:v>359655</c:v>
                </c:pt>
                <c:pt idx="55">
                  <c:v>323618</c:v>
                </c:pt>
                <c:pt idx="56">
                  <c:v>276896</c:v>
                </c:pt>
                <c:pt idx="57">
                  <c:v>266755</c:v>
                </c:pt>
                <c:pt idx="58">
                  <c:v>243078</c:v>
                </c:pt>
                <c:pt idx="59">
                  <c:v>274415</c:v>
                </c:pt>
                <c:pt idx="60">
                  <c:v>298211</c:v>
                </c:pt>
                <c:pt idx="61">
                  <c:v>311797</c:v>
                </c:pt>
                <c:pt idx="62">
                  <c:v>302360</c:v>
                </c:pt>
                <c:pt idx="63">
                  <c:v>272508</c:v>
                </c:pt>
                <c:pt idx="64">
                  <c:v>270917</c:v>
                </c:pt>
                <c:pt idx="65">
                  <c:v>253673</c:v>
                </c:pt>
                <c:pt idx="66">
                  <c:v>303756</c:v>
                </c:pt>
                <c:pt idx="67">
                  <c:v>303208</c:v>
                </c:pt>
                <c:pt idx="68">
                  <c:v>260938</c:v>
                </c:pt>
                <c:pt idx="69">
                  <c:v>228263</c:v>
                </c:pt>
                <c:pt idx="70">
                  <c:v>213726</c:v>
                </c:pt>
                <c:pt idx="71">
                  <c:v>199537</c:v>
                </c:pt>
                <c:pt idx="72">
                  <c:v>209855</c:v>
                </c:pt>
                <c:pt idx="73">
                  <c:v>209648</c:v>
                </c:pt>
                <c:pt idx="74">
                  <c:v>241304</c:v>
                </c:pt>
                <c:pt idx="75">
                  <c:v>238890</c:v>
                </c:pt>
                <c:pt idx="76">
                  <c:v>234071</c:v>
                </c:pt>
                <c:pt idx="77">
                  <c:v>241372</c:v>
                </c:pt>
                <c:pt idx="78">
                  <c:v>245574</c:v>
                </c:pt>
                <c:pt idx="79">
                  <c:v>187713</c:v>
                </c:pt>
                <c:pt idx="80">
                  <c:v>184551</c:v>
                </c:pt>
                <c:pt idx="81">
                  <c:v>186296</c:v>
                </c:pt>
                <c:pt idx="82">
                  <c:v>197274</c:v>
                </c:pt>
                <c:pt idx="83">
                  <c:v>212655</c:v>
                </c:pt>
                <c:pt idx="84">
                  <c:v>208814</c:v>
                </c:pt>
                <c:pt idx="85">
                  <c:v>213404</c:v>
                </c:pt>
                <c:pt idx="86">
                  <c:v>195904</c:v>
                </c:pt>
                <c:pt idx="87">
                  <c:v>186348</c:v>
                </c:pt>
                <c:pt idx="88">
                  <c:v>185541</c:v>
                </c:pt>
                <c:pt idx="89">
                  <c:v>181607</c:v>
                </c:pt>
                <c:pt idx="90">
                  <c:v>188080</c:v>
                </c:pt>
                <c:pt idx="91">
                  <c:v>249849</c:v>
                </c:pt>
                <c:pt idx="92">
                  <c:v>187890</c:v>
                </c:pt>
                <c:pt idx="93">
                  <c:v>200949</c:v>
                </c:pt>
                <c:pt idx="94">
                  <c:v>221561</c:v>
                </c:pt>
                <c:pt idx="95">
                  <c:v>247723</c:v>
                </c:pt>
                <c:pt idx="96">
                  <c:v>259638</c:v>
                </c:pt>
                <c:pt idx="97">
                  <c:v>249169</c:v>
                </c:pt>
                <c:pt idx="98">
                  <c:v>241771</c:v>
                </c:pt>
                <c:pt idx="99">
                  <c:v>222019</c:v>
                </c:pt>
                <c:pt idx="100">
                  <c:v>219175</c:v>
                </c:pt>
                <c:pt idx="101">
                  <c:v>225809</c:v>
                </c:pt>
                <c:pt idx="102">
                  <c:v>239189</c:v>
                </c:pt>
                <c:pt idx="103">
                  <c:v>202677</c:v>
                </c:pt>
                <c:pt idx="104">
                  <c:v>218991</c:v>
                </c:pt>
                <c:pt idx="105">
                  <c:v>281649</c:v>
                </c:pt>
                <c:pt idx="106">
                  <c:v>297192</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493</c:v>
                </c:pt>
                <c:pt idx="39">
                  <c:v>285875</c:v>
                </c:pt>
                <c:pt idx="40">
                  <c:v>294432</c:v>
                </c:pt>
                <c:pt idx="41">
                  <c:v>296527</c:v>
                </c:pt>
                <c:pt idx="42">
                  <c:v>300350</c:v>
                </c:pt>
                <c:pt idx="43">
                  <c:v>304879</c:v>
                </c:pt>
                <c:pt idx="44">
                  <c:v>307649</c:v>
                </c:pt>
                <c:pt idx="45">
                  <c:v>307981</c:v>
                </c:pt>
                <c:pt idx="46">
                  <c:v>305362</c:v>
                </c:pt>
                <c:pt idx="47">
                  <c:v>305364</c:v>
                </c:pt>
                <c:pt idx="48">
                  <c:v>303731</c:v>
                </c:pt>
                <c:pt idx="49">
                  <c:v>303601</c:v>
                </c:pt>
                <c:pt idx="50">
                  <c:v>304442</c:v>
                </c:pt>
                <c:pt idx="51">
                  <c:v>297518</c:v>
                </c:pt>
                <c:pt idx="52">
                  <c:v>304592</c:v>
                </c:pt>
                <c:pt idx="53">
                  <c:v>311082</c:v>
                </c:pt>
                <c:pt idx="54">
                  <c:v>299305</c:v>
                </c:pt>
                <c:pt idx="55">
                  <c:v>276632</c:v>
                </c:pt>
                <c:pt idx="56">
                  <c:v>285907</c:v>
                </c:pt>
                <c:pt idx="57">
                  <c:v>277802</c:v>
                </c:pt>
                <c:pt idx="58">
                  <c:v>265147</c:v>
                </c:pt>
                <c:pt idx="59">
                  <c:v>294078</c:v>
                </c:pt>
                <c:pt idx="60">
                  <c:v>295055</c:v>
                </c:pt>
                <c:pt idx="61">
                  <c:v>287353</c:v>
                </c:pt>
                <c:pt idx="62">
                  <c:v>278368</c:v>
                </c:pt>
                <c:pt idx="63">
                  <c:v>278996</c:v>
                </c:pt>
                <c:pt idx="64">
                  <c:v>279743</c:v>
                </c:pt>
                <c:pt idx="65">
                  <c:v>275241</c:v>
                </c:pt>
                <c:pt idx="66">
                  <c:v>275268</c:v>
                </c:pt>
                <c:pt idx="67">
                  <c:v>263198</c:v>
                </c:pt>
                <c:pt idx="68">
                  <c:v>247678</c:v>
                </c:pt>
                <c:pt idx="69">
                  <c:v>231360</c:v>
                </c:pt>
                <c:pt idx="70">
                  <c:v>201030</c:v>
                </c:pt>
                <c:pt idx="71">
                  <c:v>196995</c:v>
                </c:pt>
                <c:pt idx="72">
                  <c:v>204592</c:v>
                </c:pt>
                <c:pt idx="73">
                  <c:v>190118</c:v>
                </c:pt>
                <c:pt idx="74">
                  <c:v>188644</c:v>
                </c:pt>
                <c:pt idx="75">
                  <c:v>182808</c:v>
                </c:pt>
                <c:pt idx="76">
                  <c:v>187038</c:v>
                </c:pt>
                <c:pt idx="77">
                  <c:v>184219</c:v>
                </c:pt>
                <c:pt idx="78">
                  <c:v>184461</c:v>
                </c:pt>
                <c:pt idx="79">
                  <c:v>184061</c:v>
                </c:pt>
                <c:pt idx="80">
                  <c:v>184722</c:v>
                </c:pt>
                <c:pt idx="81">
                  <c:v>184853</c:v>
                </c:pt>
                <c:pt idx="82">
                  <c:v>188276</c:v>
                </c:pt>
                <c:pt idx="83">
                  <c:v>191798</c:v>
                </c:pt>
                <c:pt idx="84">
                  <c:v>189231</c:v>
                </c:pt>
                <c:pt idx="85">
                  <c:v>190467</c:v>
                </c:pt>
                <c:pt idx="86">
                  <c:v>188839</c:v>
                </c:pt>
                <c:pt idx="87">
                  <c:v>189565</c:v>
                </c:pt>
                <c:pt idx="88">
                  <c:v>197332</c:v>
                </c:pt>
                <c:pt idx="89">
                  <c:v>197618</c:v>
                </c:pt>
                <c:pt idx="90">
                  <c:v>196538</c:v>
                </c:pt>
                <c:pt idx="91">
                  <c:v>198652</c:v>
                </c:pt>
                <c:pt idx="92">
                  <c:v>201537</c:v>
                </c:pt>
                <c:pt idx="93">
                  <c:v>202294</c:v>
                </c:pt>
                <c:pt idx="94">
                  <c:v>204937</c:v>
                </c:pt>
                <c:pt idx="95">
                  <c:v>209925</c:v>
                </c:pt>
                <c:pt idx="96">
                  <c:v>191200</c:v>
                </c:pt>
                <c:pt idx="97">
                  <c:v>192704</c:v>
                </c:pt>
                <c:pt idx="98">
                  <c:v>203498</c:v>
                </c:pt>
                <c:pt idx="99">
                  <c:v>212330</c:v>
                </c:pt>
                <c:pt idx="100">
                  <c:v>203668</c:v>
                </c:pt>
                <c:pt idx="101">
                  <c:v>203304</c:v>
                </c:pt>
                <c:pt idx="102">
                  <c:v>204650</c:v>
                </c:pt>
                <c:pt idx="103">
                  <c:v>204064</c:v>
                </c:pt>
                <c:pt idx="104">
                  <c:v>200961</c:v>
                </c:pt>
                <c:pt idx="105">
                  <c:v>200872</c:v>
                </c:pt>
                <c:pt idx="106">
                  <c:v>204318</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4</c:v>
                </c:pt>
                <c:pt idx="40">
                  <c:v>0.03</c:v>
                </c:pt>
                <c:pt idx="41">
                  <c:v>0.31</c:v>
                </c:pt>
                <c:pt idx="42">
                  <c:v>0.36</c:v>
                </c:pt>
                <c:pt idx="43">
                  <c:v>0.26</c:v>
                </c:pt>
                <c:pt idx="44">
                  <c:v>1</c:v>
                </c:pt>
                <c:pt idx="45">
                  <c:v>1</c:v>
                </c:pt>
                <c:pt idx="46">
                  <c:v>1</c:v>
                </c:pt>
                <c:pt idx="47">
                  <c:v>0.35</c:v>
                </c:pt>
                <c:pt idx="48">
                  <c:v>0.27</c:v>
                </c:pt>
                <c:pt idx="49">
                  <c:v>0.27</c:v>
                </c:pt>
                <c:pt idx="50">
                  <c:v>0.4</c:v>
                </c:pt>
                <c:pt idx="51">
                  <c:v>1</c:v>
                </c:pt>
                <c:pt idx="52">
                  <c:v>1</c:v>
                </c:pt>
                <c:pt idx="53">
                  <c:v>1</c:v>
                </c:pt>
                <c:pt idx="54">
                  <c:v>1</c:v>
                </c:pt>
                <c:pt idx="55">
                  <c:v>0.97</c:v>
                </c:pt>
                <c:pt idx="56">
                  <c:v>0.09</c:v>
                </c:pt>
                <c:pt idx="57">
                  <c:v>0.1</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5180</c:v>
                </c:pt>
                <c:pt idx="1">
                  <c:v>88409</c:v>
                </c:pt>
                <c:pt idx="2">
                  <c:v>89447</c:v>
                </c:pt>
                <c:pt idx="3">
                  <c:v>59726</c:v>
                </c:pt>
                <c:pt idx="4">
                  <c:v>46036</c:v>
                </c:pt>
                <c:pt idx="5">
                  <c:v>64039</c:v>
                </c:pt>
                <c:pt idx="6">
                  <c:v>73915</c:v>
                </c:pt>
                <c:pt idx="7">
                  <c:v>129122</c:v>
                </c:pt>
                <c:pt idx="8">
                  <c:v>92007</c:v>
                </c:pt>
                <c:pt idx="9">
                  <c:v>91984</c:v>
                </c:pt>
                <c:pt idx="10">
                  <c:v>107218</c:v>
                </c:pt>
                <c:pt idx="11">
                  <c:v>114973</c:v>
                </c:pt>
                <c:pt idx="12">
                  <c:v>32310</c:v>
                </c:pt>
                <c:pt idx="13">
                  <c:v>69568</c:v>
                </c:pt>
                <c:pt idx="14">
                  <c:v>94462</c:v>
                </c:pt>
                <c:pt idx="15">
                  <c:v>122577</c:v>
                </c:pt>
                <c:pt idx="16">
                  <c:v>39717</c:v>
                </c:pt>
                <c:pt idx="17">
                  <c:v>10140</c:v>
                </c:pt>
                <c:pt idx="18">
                  <c:v>6383</c:v>
                </c:pt>
                <c:pt idx="19">
                  <c:v>4802</c:v>
                </c:pt>
                <c:pt idx="20">
                  <c:v>5507</c:v>
                </c:pt>
                <c:pt idx="21">
                  <c:v>3840</c:v>
                </c:pt>
                <c:pt idx="22">
                  <c:v>3406</c:v>
                </c:pt>
                <c:pt idx="23">
                  <c:v>2247</c:v>
                </c:pt>
                <c:pt idx="24">
                  <c:v>3999</c:v>
                </c:pt>
                <c:pt idx="25">
                  <c:v>4953</c:v>
                </c:pt>
                <c:pt idx="26">
                  <c:v>2118</c:v>
                </c:pt>
                <c:pt idx="27">
                  <c:v>69468</c:v>
                </c:pt>
                <c:pt idx="28">
                  <c:v>145662</c:v>
                </c:pt>
                <c:pt idx="29">
                  <c:v>41260</c:v>
                </c:pt>
                <c:pt idx="30">
                  <c:v>36778</c:v>
                </c:pt>
                <c:pt idx="31">
                  <c:v>198410</c:v>
                </c:pt>
                <c:pt idx="32">
                  <c:v>418107</c:v>
                </c:pt>
                <c:pt idx="33">
                  <c:v>426460</c:v>
                </c:pt>
                <c:pt idx="34">
                  <c:v>431924</c:v>
                </c:pt>
                <c:pt idx="35">
                  <c:v>404599</c:v>
                </c:pt>
                <c:pt idx="36">
                  <c:v>372312</c:v>
                </c:pt>
                <c:pt idx="37">
                  <c:v>363831</c:v>
                </c:pt>
                <c:pt idx="38">
                  <c:v>368847</c:v>
                </c:pt>
                <c:pt idx="39">
                  <c:v>403738</c:v>
                </c:pt>
                <c:pt idx="40">
                  <c:v>458127</c:v>
                </c:pt>
                <c:pt idx="41">
                  <c:v>465897</c:v>
                </c:pt>
                <c:pt idx="42">
                  <c:v>444034</c:v>
                </c:pt>
                <c:pt idx="43">
                  <c:v>122355</c:v>
                </c:pt>
                <c:pt idx="44">
                  <c:v>109173</c:v>
                </c:pt>
                <c:pt idx="45">
                  <c:v>131651</c:v>
                </c:pt>
                <c:pt idx="46">
                  <c:v>211172</c:v>
                </c:pt>
                <c:pt idx="47">
                  <c:v>225874</c:v>
                </c:pt>
                <c:pt idx="48">
                  <c:v>341235</c:v>
                </c:pt>
                <c:pt idx="49">
                  <c:v>439590</c:v>
                </c:pt>
                <c:pt idx="50">
                  <c:v>813790</c:v>
                </c:pt>
                <c:pt idx="51">
                  <c:v>1062797</c:v>
                </c:pt>
                <c:pt idx="52">
                  <c:v>85491</c:v>
                </c:pt>
                <c:pt idx="53">
                  <c:v>56733</c:v>
                </c:pt>
                <c:pt idx="54">
                  <c:v>29182</c:v>
                </c:pt>
                <c:pt idx="55">
                  <c:v>15846</c:v>
                </c:pt>
                <c:pt idx="56">
                  <c:v>42772</c:v>
                </c:pt>
                <c:pt idx="57">
                  <c:v>74997</c:v>
                </c:pt>
                <c:pt idx="58">
                  <c:v>124054</c:v>
                </c:pt>
                <c:pt idx="59">
                  <c:v>255150</c:v>
                </c:pt>
                <c:pt idx="60">
                  <c:v>165541</c:v>
                </c:pt>
                <c:pt idx="61">
                  <c:v>116751</c:v>
                </c:pt>
                <c:pt idx="62">
                  <c:v>95083</c:v>
                </c:pt>
                <c:pt idx="63">
                  <c:v>191978</c:v>
                </c:pt>
                <c:pt idx="64">
                  <c:v>136823</c:v>
                </c:pt>
                <c:pt idx="65">
                  <c:v>126990</c:v>
                </c:pt>
                <c:pt idx="66">
                  <c:v>132506</c:v>
                </c:pt>
                <c:pt idx="67">
                  <c:v>184973</c:v>
                </c:pt>
                <c:pt idx="68">
                  <c:v>120847</c:v>
                </c:pt>
                <c:pt idx="69">
                  <c:v>123245</c:v>
                </c:pt>
                <c:pt idx="70">
                  <c:v>111737</c:v>
                </c:pt>
                <c:pt idx="71">
                  <c:v>119185</c:v>
                </c:pt>
                <c:pt idx="72">
                  <c:v>121307</c:v>
                </c:pt>
                <c:pt idx="73">
                  <c:v>1146</c:v>
                </c:pt>
                <c:pt idx="74">
                  <c:v>1941</c:v>
                </c:pt>
                <c:pt idx="75">
                  <c:v>1686</c:v>
                </c:pt>
                <c:pt idx="76">
                  <c:v>3451</c:v>
                </c:pt>
                <c:pt idx="77">
                  <c:v>1179</c:v>
                </c:pt>
                <c:pt idx="78">
                  <c:v>3092</c:v>
                </c:pt>
                <c:pt idx="79">
                  <c:v>28950</c:v>
                </c:pt>
                <c:pt idx="80">
                  <c:v>53278</c:v>
                </c:pt>
                <c:pt idx="81">
                  <c:v>54784</c:v>
                </c:pt>
                <c:pt idx="82">
                  <c:v>52953</c:v>
                </c:pt>
                <c:pt idx="83">
                  <c:v>15426</c:v>
                </c:pt>
                <c:pt idx="84">
                  <c:v>13768</c:v>
                </c:pt>
                <c:pt idx="85">
                  <c:v>1571</c:v>
                </c:pt>
                <c:pt idx="86">
                  <c:v>8979</c:v>
                </c:pt>
                <c:pt idx="87">
                  <c:v>1795</c:v>
                </c:pt>
                <c:pt idx="88">
                  <c:v>2002</c:v>
                </c:pt>
                <c:pt idx="89">
                  <c:v>1765</c:v>
                </c:pt>
                <c:pt idx="90">
                  <c:v>28288</c:v>
                </c:pt>
                <c:pt idx="91">
                  <c:v>69324</c:v>
                </c:pt>
                <c:pt idx="92">
                  <c:v>133417</c:v>
                </c:pt>
                <c:pt idx="93">
                  <c:v>187535</c:v>
                </c:pt>
                <c:pt idx="94">
                  <c:v>132290</c:v>
                </c:pt>
                <c:pt idx="95">
                  <c:v>73051</c:v>
                </c:pt>
                <c:pt idx="96">
                  <c:v>92941</c:v>
                </c:pt>
                <c:pt idx="97">
                  <c:v>162895</c:v>
                </c:pt>
                <c:pt idx="98">
                  <c:v>294214</c:v>
                </c:pt>
                <c:pt idx="99">
                  <c:v>404954</c:v>
                </c:pt>
                <c:pt idx="100">
                  <c:v>486127</c:v>
                </c:pt>
                <c:pt idx="101">
                  <c:v>521428</c:v>
                </c:pt>
                <c:pt idx="102">
                  <c:v>642270</c:v>
                </c:pt>
                <c:pt idx="103">
                  <c:v>904039</c:v>
                </c:pt>
                <c:pt idx="104">
                  <c:v>177095</c:v>
                </c:pt>
                <c:pt idx="105">
                  <c:v>153782</c:v>
                </c:pt>
                <c:pt idx="106">
                  <c:v>151663</c:v>
                </c:pt>
                <c:pt idx="107">
                  <c:v>13667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27533</c:v>
                </c:pt>
                <c:pt idx="1">
                  <c:v>624511</c:v>
                </c:pt>
                <c:pt idx="2">
                  <c:v>616456</c:v>
                </c:pt>
                <c:pt idx="3">
                  <c:v>597714</c:v>
                </c:pt>
                <c:pt idx="4">
                  <c:v>621143</c:v>
                </c:pt>
                <c:pt idx="5">
                  <c:v>629988</c:v>
                </c:pt>
                <c:pt idx="6">
                  <c:v>599329</c:v>
                </c:pt>
                <c:pt idx="7">
                  <c:v>619718</c:v>
                </c:pt>
                <c:pt idx="8">
                  <c:v>663577</c:v>
                </c:pt>
                <c:pt idx="9">
                  <c:v>613201</c:v>
                </c:pt>
                <c:pt idx="10">
                  <c:v>600768</c:v>
                </c:pt>
                <c:pt idx="11">
                  <c:v>609569</c:v>
                </c:pt>
                <c:pt idx="12">
                  <c:v>634250</c:v>
                </c:pt>
                <c:pt idx="13">
                  <c:v>664856</c:v>
                </c:pt>
                <c:pt idx="14">
                  <c:v>569088</c:v>
                </c:pt>
                <c:pt idx="15">
                  <c:v>625259</c:v>
                </c:pt>
                <c:pt idx="16">
                  <c:v>630508</c:v>
                </c:pt>
                <c:pt idx="17">
                  <c:v>696887</c:v>
                </c:pt>
                <c:pt idx="18">
                  <c:v>655442</c:v>
                </c:pt>
                <c:pt idx="19">
                  <c:v>651329</c:v>
                </c:pt>
                <c:pt idx="20">
                  <c:v>705562</c:v>
                </c:pt>
                <c:pt idx="21">
                  <c:v>726074</c:v>
                </c:pt>
                <c:pt idx="22">
                  <c:v>734894</c:v>
                </c:pt>
                <c:pt idx="23">
                  <c:v>710792</c:v>
                </c:pt>
                <c:pt idx="24">
                  <c:v>696850</c:v>
                </c:pt>
                <c:pt idx="25">
                  <c:v>712847</c:v>
                </c:pt>
                <c:pt idx="26">
                  <c:v>739663</c:v>
                </c:pt>
                <c:pt idx="27">
                  <c:v>657418</c:v>
                </c:pt>
                <c:pt idx="28">
                  <c:v>633757</c:v>
                </c:pt>
                <c:pt idx="29">
                  <c:v>682925</c:v>
                </c:pt>
                <c:pt idx="30">
                  <c:v>732340</c:v>
                </c:pt>
                <c:pt idx="31">
                  <c:v>535979</c:v>
                </c:pt>
                <c:pt idx="32">
                  <c:v>332627</c:v>
                </c:pt>
                <c:pt idx="33">
                  <c:v>303557</c:v>
                </c:pt>
                <c:pt idx="34">
                  <c:v>311441</c:v>
                </c:pt>
                <c:pt idx="35">
                  <c:v>329061</c:v>
                </c:pt>
                <c:pt idx="36">
                  <c:v>319282</c:v>
                </c:pt>
                <c:pt idx="37">
                  <c:v>313048</c:v>
                </c:pt>
                <c:pt idx="38">
                  <c:v>308824</c:v>
                </c:pt>
                <c:pt idx="39">
                  <c:v>314684</c:v>
                </c:pt>
                <c:pt idx="40">
                  <c:v>285068</c:v>
                </c:pt>
                <c:pt idx="41">
                  <c:v>286174</c:v>
                </c:pt>
                <c:pt idx="42">
                  <c:v>290786</c:v>
                </c:pt>
                <c:pt idx="43">
                  <c:v>641780</c:v>
                </c:pt>
                <c:pt idx="44">
                  <c:v>671418</c:v>
                </c:pt>
                <c:pt idx="45">
                  <c:v>642178</c:v>
                </c:pt>
                <c:pt idx="46">
                  <c:v>595350</c:v>
                </c:pt>
                <c:pt idx="47">
                  <c:v>634376</c:v>
                </c:pt>
                <c:pt idx="48">
                  <c:v>646642</c:v>
                </c:pt>
                <c:pt idx="49">
                  <c:v>630619</c:v>
                </c:pt>
                <c:pt idx="50">
                  <c:v>678751</c:v>
                </c:pt>
                <c:pt idx="51">
                  <c:v>504651</c:v>
                </c:pt>
                <c:pt idx="52">
                  <c:v>555168</c:v>
                </c:pt>
                <c:pt idx="53">
                  <c:v>502025</c:v>
                </c:pt>
                <c:pt idx="54">
                  <c:v>534615</c:v>
                </c:pt>
                <c:pt idx="55">
                  <c:v>587327</c:v>
                </c:pt>
                <c:pt idx="56">
                  <c:v>587826</c:v>
                </c:pt>
                <c:pt idx="57">
                  <c:v>565396</c:v>
                </c:pt>
                <c:pt idx="58">
                  <c:v>480523</c:v>
                </c:pt>
                <c:pt idx="59">
                  <c:v>468901</c:v>
                </c:pt>
                <c:pt idx="60">
                  <c:v>512220</c:v>
                </c:pt>
                <c:pt idx="61">
                  <c:v>537435</c:v>
                </c:pt>
                <c:pt idx="62">
                  <c:v>523052</c:v>
                </c:pt>
                <c:pt idx="63">
                  <c:v>478096</c:v>
                </c:pt>
                <c:pt idx="64">
                  <c:v>512362</c:v>
                </c:pt>
                <c:pt idx="65">
                  <c:v>512607</c:v>
                </c:pt>
                <c:pt idx="66">
                  <c:v>484377</c:v>
                </c:pt>
                <c:pt idx="67">
                  <c:v>488426</c:v>
                </c:pt>
                <c:pt idx="68">
                  <c:v>488309</c:v>
                </c:pt>
                <c:pt idx="69">
                  <c:v>516786</c:v>
                </c:pt>
                <c:pt idx="70">
                  <c:v>513598</c:v>
                </c:pt>
                <c:pt idx="71">
                  <c:v>482095</c:v>
                </c:pt>
                <c:pt idx="72">
                  <c:v>546756</c:v>
                </c:pt>
                <c:pt idx="73">
                  <c:v>610299</c:v>
                </c:pt>
                <c:pt idx="74">
                  <c:v>658475</c:v>
                </c:pt>
                <c:pt idx="75">
                  <c:v>621002</c:v>
                </c:pt>
                <c:pt idx="76">
                  <c:v>618826</c:v>
                </c:pt>
                <c:pt idx="77">
                  <c:v>616269</c:v>
                </c:pt>
                <c:pt idx="78">
                  <c:v>666258</c:v>
                </c:pt>
                <c:pt idx="79">
                  <c:v>591776</c:v>
                </c:pt>
                <c:pt idx="80">
                  <c:v>575625</c:v>
                </c:pt>
                <c:pt idx="81">
                  <c:v>561907</c:v>
                </c:pt>
                <c:pt idx="82">
                  <c:v>586645</c:v>
                </c:pt>
                <c:pt idx="83">
                  <c:v>610820</c:v>
                </c:pt>
                <c:pt idx="84">
                  <c:v>605606</c:v>
                </c:pt>
                <c:pt idx="85">
                  <c:v>608295</c:v>
                </c:pt>
                <c:pt idx="86">
                  <c:v>598295</c:v>
                </c:pt>
                <c:pt idx="87">
                  <c:v>614547</c:v>
                </c:pt>
                <c:pt idx="88">
                  <c:v>573590</c:v>
                </c:pt>
                <c:pt idx="89">
                  <c:v>576269</c:v>
                </c:pt>
                <c:pt idx="90">
                  <c:v>540650</c:v>
                </c:pt>
                <c:pt idx="91">
                  <c:v>592286</c:v>
                </c:pt>
                <c:pt idx="92">
                  <c:v>477483</c:v>
                </c:pt>
                <c:pt idx="93">
                  <c:v>465525</c:v>
                </c:pt>
                <c:pt idx="94">
                  <c:v>507952</c:v>
                </c:pt>
                <c:pt idx="95">
                  <c:v>572331</c:v>
                </c:pt>
                <c:pt idx="96">
                  <c:v>594233</c:v>
                </c:pt>
                <c:pt idx="97">
                  <c:v>515776</c:v>
                </c:pt>
                <c:pt idx="98">
                  <c:v>396735</c:v>
                </c:pt>
                <c:pt idx="99">
                  <c:v>330946</c:v>
                </c:pt>
                <c:pt idx="100">
                  <c:v>362280</c:v>
                </c:pt>
                <c:pt idx="101">
                  <c:v>391394</c:v>
                </c:pt>
                <c:pt idx="102">
                  <c:v>446170</c:v>
                </c:pt>
                <c:pt idx="103">
                  <c:v>411026</c:v>
                </c:pt>
                <c:pt idx="104">
                  <c:v>400337</c:v>
                </c:pt>
                <c:pt idx="105">
                  <c:v>374460</c:v>
                </c:pt>
                <c:pt idx="106">
                  <c:v>400925</c:v>
                </c:pt>
                <c:pt idx="107">
                  <c:v>36594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2713</c:v>
                </c:pt>
                <c:pt idx="1">
                  <c:v>712920</c:v>
                </c:pt>
                <c:pt idx="2">
                  <c:v>705903</c:v>
                </c:pt>
                <c:pt idx="3">
                  <c:v>657440</c:v>
                </c:pt>
                <c:pt idx="4">
                  <c:v>667179</c:v>
                </c:pt>
                <c:pt idx="5">
                  <c:v>694027</c:v>
                </c:pt>
                <c:pt idx="6">
                  <c:v>673244</c:v>
                </c:pt>
                <c:pt idx="7">
                  <c:v>748840</c:v>
                </c:pt>
                <c:pt idx="8">
                  <c:v>755584</c:v>
                </c:pt>
                <c:pt idx="9">
                  <c:v>705185</c:v>
                </c:pt>
                <c:pt idx="10">
                  <c:v>707986</c:v>
                </c:pt>
                <c:pt idx="11">
                  <c:v>724542</c:v>
                </c:pt>
                <c:pt idx="12">
                  <c:v>666560</c:v>
                </c:pt>
                <c:pt idx="13">
                  <c:v>734424</c:v>
                </c:pt>
                <c:pt idx="14">
                  <c:v>663550</c:v>
                </c:pt>
                <c:pt idx="15">
                  <c:v>747836</c:v>
                </c:pt>
                <c:pt idx="16">
                  <c:v>670225</c:v>
                </c:pt>
                <c:pt idx="17">
                  <c:v>707027</c:v>
                </c:pt>
                <c:pt idx="18">
                  <c:v>661825</c:v>
                </c:pt>
                <c:pt idx="19">
                  <c:v>656131</c:v>
                </c:pt>
                <c:pt idx="20">
                  <c:v>711069</c:v>
                </c:pt>
                <c:pt idx="21">
                  <c:v>729914</c:v>
                </c:pt>
                <c:pt idx="22">
                  <c:v>738300</c:v>
                </c:pt>
                <c:pt idx="23">
                  <c:v>713039</c:v>
                </c:pt>
                <c:pt idx="24">
                  <c:v>700849</c:v>
                </c:pt>
                <c:pt idx="25">
                  <c:v>717800</c:v>
                </c:pt>
                <c:pt idx="26">
                  <c:v>741781</c:v>
                </c:pt>
                <c:pt idx="27">
                  <c:v>726886</c:v>
                </c:pt>
                <c:pt idx="28">
                  <c:v>779419</c:v>
                </c:pt>
                <c:pt idx="29">
                  <c:v>724185</c:v>
                </c:pt>
                <c:pt idx="30">
                  <c:v>769118</c:v>
                </c:pt>
                <c:pt idx="31">
                  <c:v>734389</c:v>
                </c:pt>
                <c:pt idx="32">
                  <c:v>750734</c:v>
                </c:pt>
                <c:pt idx="33">
                  <c:v>730017</c:v>
                </c:pt>
                <c:pt idx="34">
                  <c:v>743365</c:v>
                </c:pt>
                <c:pt idx="35">
                  <c:v>733660</c:v>
                </c:pt>
                <c:pt idx="36">
                  <c:v>691594</c:v>
                </c:pt>
                <c:pt idx="37">
                  <c:v>676879</c:v>
                </c:pt>
                <c:pt idx="38">
                  <c:v>677671</c:v>
                </c:pt>
                <c:pt idx="39">
                  <c:v>718422</c:v>
                </c:pt>
                <c:pt idx="40">
                  <c:v>743195</c:v>
                </c:pt>
                <c:pt idx="41">
                  <c:v>752071</c:v>
                </c:pt>
                <c:pt idx="42">
                  <c:v>734820</c:v>
                </c:pt>
                <c:pt idx="43">
                  <c:v>764135</c:v>
                </c:pt>
                <c:pt idx="44">
                  <c:v>780591</c:v>
                </c:pt>
                <c:pt idx="45">
                  <c:v>773829</c:v>
                </c:pt>
                <c:pt idx="46">
                  <c:v>806522</c:v>
                </c:pt>
                <c:pt idx="47">
                  <c:v>860250</c:v>
                </c:pt>
                <c:pt idx="48">
                  <c:v>987877</c:v>
                </c:pt>
                <c:pt idx="49">
                  <c:v>1070209</c:v>
                </c:pt>
                <c:pt idx="50">
                  <c:v>1492541</c:v>
                </c:pt>
                <c:pt idx="51">
                  <c:v>1567448</c:v>
                </c:pt>
                <c:pt idx="52">
                  <c:v>640659</c:v>
                </c:pt>
                <c:pt idx="53">
                  <c:v>558758</c:v>
                </c:pt>
                <c:pt idx="54">
                  <c:v>563797</c:v>
                </c:pt>
                <c:pt idx="55">
                  <c:v>603173</c:v>
                </c:pt>
                <c:pt idx="56">
                  <c:v>630598</c:v>
                </c:pt>
                <c:pt idx="57">
                  <c:v>640393</c:v>
                </c:pt>
                <c:pt idx="58">
                  <c:v>604577</c:v>
                </c:pt>
                <c:pt idx="59">
                  <c:v>724051</c:v>
                </c:pt>
                <c:pt idx="60">
                  <c:v>677761</c:v>
                </c:pt>
                <c:pt idx="61">
                  <c:v>654186</c:v>
                </c:pt>
                <c:pt idx="62">
                  <c:v>618135</c:v>
                </c:pt>
                <c:pt idx="63">
                  <c:v>670074</c:v>
                </c:pt>
                <c:pt idx="64">
                  <c:v>649185</c:v>
                </c:pt>
                <c:pt idx="65">
                  <c:v>639597</c:v>
                </c:pt>
                <c:pt idx="66">
                  <c:v>616883</c:v>
                </c:pt>
                <c:pt idx="67">
                  <c:v>673399</c:v>
                </c:pt>
                <c:pt idx="68">
                  <c:v>609156</c:v>
                </c:pt>
                <c:pt idx="69">
                  <c:v>640031</c:v>
                </c:pt>
                <c:pt idx="70">
                  <c:v>625335</c:v>
                </c:pt>
                <c:pt idx="71">
                  <c:v>601280</c:v>
                </c:pt>
                <c:pt idx="72">
                  <c:v>668063</c:v>
                </c:pt>
                <c:pt idx="73">
                  <c:v>611445</c:v>
                </c:pt>
                <c:pt idx="74">
                  <c:v>660416</c:v>
                </c:pt>
                <c:pt idx="75">
                  <c:v>622688</c:v>
                </c:pt>
                <c:pt idx="76">
                  <c:v>622277</c:v>
                </c:pt>
                <c:pt idx="77">
                  <c:v>617448</c:v>
                </c:pt>
                <c:pt idx="78">
                  <c:v>669350</c:v>
                </c:pt>
                <c:pt idx="79">
                  <c:v>620726</c:v>
                </c:pt>
                <c:pt idx="80">
                  <c:v>628903</c:v>
                </c:pt>
                <c:pt idx="81">
                  <c:v>616691</c:v>
                </c:pt>
                <c:pt idx="82">
                  <c:v>639598</c:v>
                </c:pt>
                <c:pt idx="83">
                  <c:v>626246</c:v>
                </c:pt>
                <c:pt idx="84">
                  <c:v>619374</c:v>
                </c:pt>
                <c:pt idx="85">
                  <c:v>609866</c:v>
                </c:pt>
                <c:pt idx="86">
                  <c:v>607274</c:v>
                </c:pt>
                <c:pt idx="87">
                  <c:v>616342</c:v>
                </c:pt>
                <c:pt idx="88">
                  <c:v>575592</c:v>
                </c:pt>
                <c:pt idx="89">
                  <c:v>578034</c:v>
                </c:pt>
                <c:pt idx="90">
                  <c:v>568938</c:v>
                </c:pt>
                <c:pt idx="91">
                  <c:v>661610</c:v>
                </c:pt>
                <c:pt idx="92">
                  <c:v>610900</c:v>
                </c:pt>
                <c:pt idx="93">
                  <c:v>653060</c:v>
                </c:pt>
                <c:pt idx="94">
                  <c:v>640242</c:v>
                </c:pt>
                <c:pt idx="95">
                  <c:v>645382</c:v>
                </c:pt>
                <c:pt idx="96">
                  <c:v>687174</c:v>
                </c:pt>
                <c:pt idx="97">
                  <c:v>678671</c:v>
                </c:pt>
                <c:pt idx="98">
                  <c:v>690949</c:v>
                </c:pt>
                <c:pt idx="99">
                  <c:v>735900</c:v>
                </c:pt>
                <c:pt idx="100">
                  <c:v>848407</c:v>
                </c:pt>
                <c:pt idx="101">
                  <c:v>912822</c:v>
                </c:pt>
                <c:pt idx="102">
                  <c:v>1088440</c:v>
                </c:pt>
                <c:pt idx="103">
                  <c:v>1315065</c:v>
                </c:pt>
                <c:pt idx="104">
                  <c:v>577432</c:v>
                </c:pt>
                <c:pt idx="105">
                  <c:v>528242</c:v>
                </c:pt>
                <c:pt idx="106">
                  <c:v>552588</c:v>
                </c:pt>
                <c:pt idx="107">
                  <c:v>502625</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51397</c:v>
                </c:pt>
                <c:pt idx="1">
                  <c:v>652516</c:v>
                </c:pt>
                <c:pt idx="2">
                  <c:v>657933</c:v>
                </c:pt>
                <c:pt idx="3">
                  <c:v>659238</c:v>
                </c:pt>
                <c:pt idx="4">
                  <c:v>666366</c:v>
                </c:pt>
                <c:pt idx="5">
                  <c:v>675155</c:v>
                </c:pt>
                <c:pt idx="6">
                  <c:v>685254</c:v>
                </c:pt>
                <c:pt idx="7">
                  <c:v>700146</c:v>
                </c:pt>
                <c:pt idx="8">
                  <c:v>710837</c:v>
                </c:pt>
                <c:pt idx="9">
                  <c:v>712167</c:v>
                </c:pt>
                <c:pt idx="10">
                  <c:v>709578</c:v>
                </c:pt>
                <c:pt idx="11">
                  <c:v>707820</c:v>
                </c:pt>
                <c:pt idx="12">
                  <c:v>708068</c:v>
                </c:pt>
                <c:pt idx="13">
                  <c:v>699334</c:v>
                </c:pt>
                <c:pt idx="14">
                  <c:v>699989</c:v>
                </c:pt>
                <c:pt idx="15">
                  <c:v>695345</c:v>
                </c:pt>
                <c:pt idx="16">
                  <c:v>686651</c:v>
                </c:pt>
                <c:pt idx="17">
                  <c:v>691715</c:v>
                </c:pt>
                <c:pt idx="18">
                  <c:v>692229</c:v>
                </c:pt>
                <c:pt idx="19">
                  <c:v>701351</c:v>
                </c:pt>
                <c:pt idx="20">
                  <c:v>698799</c:v>
                </c:pt>
                <c:pt idx="21">
                  <c:v>702574</c:v>
                </c:pt>
                <c:pt idx="22">
                  <c:v>704338</c:v>
                </c:pt>
                <c:pt idx="23">
                  <c:v>714326</c:v>
                </c:pt>
                <c:pt idx="24">
                  <c:v>722611</c:v>
                </c:pt>
                <c:pt idx="25">
                  <c:v>730574</c:v>
                </c:pt>
                <c:pt idx="26">
                  <c:v>729468</c:v>
                </c:pt>
                <c:pt idx="27">
                  <c:v>732166</c:v>
                </c:pt>
                <c:pt idx="28">
                  <c:v>736680</c:v>
                </c:pt>
                <c:pt idx="29">
                  <c:v>741857</c:v>
                </c:pt>
                <c:pt idx="30">
                  <c:v>743875</c:v>
                </c:pt>
                <c:pt idx="31">
                  <c:v>745721</c:v>
                </c:pt>
                <c:pt idx="32">
                  <c:v>747569</c:v>
                </c:pt>
                <c:pt idx="33">
                  <c:v>735512</c:v>
                </c:pt>
                <c:pt idx="34">
                  <c:v>742145</c:v>
                </c:pt>
                <c:pt idx="35">
                  <c:v>734840</c:v>
                </c:pt>
                <c:pt idx="36">
                  <c:v>731731</c:v>
                </c:pt>
                <c:pt idx="37">
                  <c:v>724420</c:v>
                </c:pt>
                <c:pt idx="38">
                  <c:v>721969</c:v>
                </c:pt>
                <c:pt idx="39">
                  <c:v>719373</c:v>
                </c:pt>
                <c:pt idx="40">
                  <c:v>760150</c:v>
                </c:pt>
                <c:pt idx="41">
                  <c:v>778514</c:v>
                </c:pt>
                <c:pt idx="42">
                  <c:v>751839</c:v>
                </c:pt>
                <c:pt idx="43">
                  <c:v>732354</c:v>
                </c:pt>
                <c:pt idx="44">
                  <c:v>741709</c:v>
                </c:pt>
                <c:pt idx="45">
                  <c:v>767362</c:v>
                </c:pt>
                <c:pt idx="46">
                  <c:v>775184</c:v>
                </c:pt>
                <c:pt idx="47">
                  <c:v>783225</c:v>
                </c:pt>
                <c:pt idx="48">
                  <c:v>766902</c:v>
                </c:pt>
                <c:pt idx="49">
                  <c:v>749516</c:v>
                </c:pt>
                <c:pt idx="50">
                  <c:v>735380</c:v>
                </c:pt>
                <c:pt idx="51">
                  <c:v>783804</c:v>
                </c:pt>
                <c:pt idx="52">
                  <c:v>728139</c:v>
                </c:pt>
                <c:pt idx="53">
                  <c:v>672836</c:v>
                </c:pt>
                <c:pt idx="54">
                  <c:v>619060</c:v>
                </c:pt>
                <c:pt idx="55">
                  <c:v>582559</c:v>
                </c:pt>
                <c:pt idx="56">
                  <c:v>600830</c:v>
                </c:pt>
                <c:pt idx="57">
                  <c:v>627199</c:v>
                </c:pt>
                <c:pt idx="58">
                  <c:v>633544</c:v>
                </c:pt>
                <c:pt idx="59">
                  <c:v>643027</c:v>
                </c:pt>
                <c:pt idx="60">
                  <c:v>654269</c:v>
                </c:pt>
                <c:pt idx="61">
                  <c:v>655675</c:v>
                </c:pt>
                <c:pt idx="62">
                  <c:v>655246</c:v>
                </c:pt>
                <c:pt idx="63">
                  <c:v>655162</c:v>
                </c:pt>
                <c:pt idx="64">
                  <c:v>650185</c:v>
                </c:pt>
                <c:pt idx="65">
                  <c:v>643642</c:v>
                </c:pt>
                <c:pt idx="66">
                  <c:v>641091</c:v>
                </c:pt>
                <c:pt idx="67">
                  <c:v>638036</c:v>
                </c:pt>
                <c:pt idx="68">
                  <c:v>626117</c:v>
                </c:pt>
                <c:pt idx="69">
                  <c:v>629069</c:v>
                </c:pt>
                <c:pt idx="70">
                  <c:v>626447</c:v>
                </c:pt>
                <c:pt idx="71">
                  <c:v>631369</c:v>
                </c:pt>
                <c:pt idx="72">
                  <c:v>629882</c:v>
                </c:pt>
                <c:pt idx="73">
                  <c:v>629889</c:v>
                </c:pt>
                <c:pt idx="74">
                  <c:v>627617</c:v>
                </c:pt>
                <c:pt idx="75">
                  <c:v>633696</c:v>
                </c:pt>
                <c:pt idx="76">
                  <c:v>635980</c:v>
                </c:pt>
                <c:pt idx="77">
                  <c:v>631960</c:v>
                </c:pt>
                <c:pt idx="78">
                  <c:v>632536</c:v>
                </c:pt>
                <c:pt idx="79">
                  <c:v>629480</c:v>
                </c:pt>
                <c:pt idx="80">
                  <c:v>629999</c:v>
                </c:pt>
                <c:pt idx="81">
                  <c:v>629146</c:v>
                </c:pt>
                <c:pt idx="82">
                  <c:v>629423</c:v>
                </c:pt>
                <c:pt idx="83">
                  <c:v>621074</c:v>
                </c:pt>
                <c:pt idx="84">
                  <c:v>620551</c:v>
                </c:pt>
                <c:pt idx="85">
                  <c:v>614180</c:v>
                </c:pt>
                <c:pt idx="86">
                  <c:v>609234</c:v>
                </c:pt>
                <c:pt idx="87">
                  <c:v>600611</c:v>
                </c:pt>
                <c:pt idx="88">
                  <c:v>604403</c:v>
                </c:pt>
                <c:pt idx="89">
                  <c:v>601222</c:v>
                </c:pt>
                <c:pt idx="90">
                  <c:v>599614</c:v>
                </c:pt>
                <c:pt idx="91">
                  <c:v>596983</c:v>
                </c:pt>
                <c:pt idx="92">
                  <c:v>603413</c:v>
                </c:pt>
                <c:pt idx="93">
                  <c:v>642096</c:v>
                </c:pt>
                <c:pt idx="94">
                  <c:v>653356</c:v>
                </c:pt>
                <c:pt idx="95">
                  <c:v>664341</c:v>
                </c:pt>
                <c:pt idx="96">
                  <c:v>668589</c:v>
                </c:pt>
                <c:pt idx="97">
                  <c:v>679054</c:v>
                </c:pt>
                <c:pt idx="98">
                  <c:v>688837</c:v>
                </c:pt>
                <c:pt idx="99">
                  <c:v>688432</c:v>
                </c:pt>
                <c:pt idx="100">
                  <c:v>698884</c:v>
                </c:pt>
                <c:pt idx="101">
                  <c:v>696475</c:v>
                </c:pt>
                <c:pt idx="102">
                  <c:v>693492</c:v>
                </c:pt>
                <c:pt idx="103">
                  <c:v>690715</c:v>
                </c:pt>
                <c:pt idx="104">
                  <c:v>605388</c:v>
                </c:pt>
                <c:pt idx="105">
                  <c:v>560884</c:v>
                </c:pt>
                <c:pt idx="106">
                  <c:v>586731</c:v>
                </c:pt>
                <c:pt idx="107">
                  <c:v>56516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01</c:v>
                </c:pt>
                <c:pt idx="22">
                  <c:v>0</c:v>
                </c:pt>
                <c:pt idx="23">
                  <c:v>0</c:v>
                </c:pt>
                <c:pt idx="24">
                  <c:v>0.01</c:v>
                </c:pt>
                <c:pt idx="25">
                  <c:v>0.01</c:v>
                </c:pt>
                <c:pt idx="26">
                  <c:v>0</c:v>
                </c:pt>
                <c:pt idx="27">
                  <c:v>0.1</c:v>
                </c:pt>
                <c:pt idx="28">
                  <c:v>0.18</c:v>
                </c:pt>
                <c:pt idx="29">
                  <c:v>0.05</c:v>
                </c:pt>
                <c:pt idx="30">
                  <c:v>0.03</c:v>
                </c:pt>
                <c:pt idx="31">
                  <c:v>0.35</c:v>
                </c:pt>
                <c:pt idx="32">
                  <c:v>0.78</c:v>
                </c:pt>
                <c:pt idx="33">
                  <c:v>0.81</c:v>
                </c:pt>
                <c:pt idx="34">
                  <c:v>0.81</c:v>
                </c:pt>
                <c:pt idx="35">
                  <c:v>0.8</c:v>
                </c:pt>
                <c:pt idx="36">
                  <c:v>0.79</c:v>
                </c:pt>
                <c:pt idx="37">
                  <c:v>0.79</c:v>
                </c:pt>
                <c:pt idx="38">
                  <c:v>0.78</c:v>
                </c:pt>
                <c:pt idx="39">
                  <c:v>0.79</c:v>
                </c:pt>
                <c:pt idx="40">
                  <c:v>0.81</c:v>
                </c:pt>
                <c:pt idx="41">
                  <c:v>0.8</c:v>
                </c:pt>
                <c:pt idx="42">
                  <c:v>0.79</c:v>
                </c:pt>
                <c:pt idx="43">
                  <c:v>0.09</c:v>
                </c:pt>
                <c:pt idx="44">
                  <c:v>0.08</c:v>
                </c:pt>
                <c:pt idx="45">
                  <c:v>0.11</c:v>
                </c:pt>
                <c:pt idx="46">
                  <c:v>0.17</c:v>
                </c:pt>
                <c:pt idx="47">
                  <c:v>0.17</c:v>
                </c:pt>
                <c:pt idx="48">
                  <c:v>0.26</c:v>
                </c:pt>
                <c:pt idx="49">
                  <c:v>0.28999999999999998</c:v>
                </c:pt>
                <c:pt idx="50">
                  <c:v>0.38</c:v>
                </c:pt>
                <c:pt idx="51">
                  <c:v>0.6</c:v>
                </c:pt>
                <c:pt idx="52">
                  <c:v>0.1</c:v>
                </c:pt>
                <c:pt idx="53">
                  <c:v>0.11</c:v>
                </c:pt>
                <c:pt idx="54">
                  <c:v>0.06</c:v>
                </c:pt>
                <c:pt idx="55">
                  <c:v>0.03</c:v>
                </c:pt>
                <c:pt idx="56">
                  <c:v>0.05</c:v>
                </c:pt>
                <c:pt idx="57">
                  <c:v>0.08</c:v>
                </c:pt>
                <c:pt idx="58">
                  <c:v>0.17</c:v>
                </c:pt>
                <c:pt idx="59">
                  <c:v>0.34</c:v>
                </c:pt>
                <c:pt idx="60">
                  <c:v>0.19</c:v>
                </c:pt>
                <c:pt idx="61">
                  <c:v>0.11</c:v>
                </c:pt>
                <c:pt idx="62">
                  <c:v>0.09</c:v>
                </c:pt>
                <c:pt idx="63">
                  <c:v>0.3</c:v>
                </c:pt>
                <c:pt idx="64">
                  <c:v>0.22</c:v>
                </c:pt>
                <c:pt idx="65">
                  <c:v>0.21</c:v>
                </c:pt>
                <c:pt idx="66">
                  <c:v>0.23</c:v>
                </c:pt>
                <c:pt idx="67">
                  <c:v>0.3</c:v>
                </c:pt>
                <c:pt idx="68">
                  <c:v>0.21</c:v>
                </c:pt>
                <c:pt idx="69">
                  <c:v>0.21</c:v>
                </c:pt>
                <c:pt idx="70">
                  <c:v>0.19</c:v>
                </c:pt>
                <c:pt idx="71">
                  <c:v>0.22</c:v>
                </c:pt>
                <c:pt idx="72">
                  <c:v>0.22</c:v>
                </c:pt>
                <c:pt idx="73">
                  <c:v>0</c:v>
                </c:pt>
                <c:pt idx="74">
                  <c:v>0</c:v>
                </c:pt>
                <c:pt idx="75">
                  <c:v>0</c:v>
                </c:pt>
                <c:pt idx="76">
                  <c:v>0.01</c:v>
                </c:pt>
                <c:pt idx="77">
                  <c:v>0</c:v>
                </c:pt>
                <c:pt idx="78">
                  <c:v>0</c:v>
                </c:pt>
                <c:pt idx="79">
                  <c:v>0.03</c:v>
                </c:pt>
                <c:pt idx="80">
                  <c:v>0.05</c:v>
                </c:pt>
                <c:pt idx="81">
                  <c:v>0.05</c:v>
                </c:pt>
                <c:pt idx="82">
                  <c:v>0.05</c:v>
                </c:pt>
                <c:pt idx="83">
                  <c:v>0.01</c:v>
                </c:pt>
                <c:pt idx="84">
                  <c:v>0.01</c:v>
                </c:pt>
                <c:pt idx="85">
                  <c:v>0</c:v>
                </c:pt>
                <c:pt idx="86">
                  <c:v>0.01</c:v>
                </c:pt>
                <c:pt idx="87">
                  <c:v>0</c:v>
                </c:pt>
                <c:pt idx="88">
                  <c:v>0</c:v>
                </c:pt>
                <c:pt idx="89">
                  <c:v>0</c:v>
                </c:pt>
                <c:pt idx="90">
                  <c:v>0.04</c:v>
                </c:pt>
                <c:pt idx="91">
                  <c:v>0.1</c:v>
                </c:pt>
                <c:pt idx="92">
                  <c:v>0.24</c:v>
                </c:pt>
                <c:pt idx="93">
                  <c:v>0.28999999999999998</c:v>
                </c:pt>
                <c:pt idx="94">
                  <c:v>0.19</c:v>
                </c:pt>
                <c:pt idx="95">
                  <c:v>0.09</c:v>
                </c:pt>
                <c:pt idx="96">
                  <c:v>0.1</c:v>
                </c:pt>
                <c:pt idx="97">
                  <c:v>0.18</c:v>
                </c:pt>
                <c:pt idx="98">
                  <c:v>0.3</c:v>
                </c:pt>
                <c:pt idx="99">
                  <c:v>0.44</c:v>
                </c:pt>
                <c:pt idx="100">
                  <c:v>0.5</c:v>
                </c:pt>
                <c:pt idx="101">
                  <c:v>0.45</c:v>
                </c:pt>
                <c:pt idx="102">
                  <c:v>0.45</c:v>
                </c:pt>
                <c:pt idx="103">
                  <c:v>0.64</c:v>
                </c:pt>
                <c:pt idx="104">
                  <c:v>0.2</c:v>
                </c:pt>
                <c:pt idx="105">
                  <c:v>0.18</c:v>
                </c:pt>
                <c:pt idx="106">
                  <c:v>0.17</c:v>
                </c:pt>
                <c:pt idx="107">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4887</c:v>
                </c:pt>
                <c:pt idx="1">
                  <c:v>88325</c:v>
                </c:pt>
                <c:pt idx="2">
                  <c:v>89322</c:v>
                </c:pt>
                <c:pt idx="3">
                  <c:v>59592</c:v>
                </c:pt>
                <c:pt idx="4">
                  <c:v>45985</c:v>
                </c:pt>
                <c:pt idx="5">
                  <c:v>63369</c:v>
                </c:pt>
                <c:pt idx="6">
                  <c:v>73309</c:v>
                </c:pt>
                <c:pt idx="7">
                  <c:v>128560</c:v>
                </c:pt>
                <c:pt idx="8">
                  <c:v>91762</c:v>
                </c:pt>
                <c:pt idx="9">
                  <c:v>91581</c:v>
                </c:pt>
                <c:pt idx="10">
                  <c:v>106666</c:v>
                </c:pt>
                <c:pt idx="11">
                  <c:v>114310</c:v>
                </c:pt>
                <c:pt idx="12">
                  <c:v>31424</c:v>
                </c:pt>
                <c:pt idx="13">
                  <c:v>68736</c:v>
                </c:pt>
                <c:pt idx="14">
                  <c:v>94095</c:v>
                </c:pt>
                <c:pt idx="15">
                  <c:v>121812</c:v>
                </c:pt>
                <c:pt idx="16">
                  <c:v>38957</c:v>
                </c:pt>
                <c:pt idx="17">
                  <c:v>9496</c:v>
                </c:pt>
                <c:pt idx="18">
                  <c:v>5832</c:v>
                </c:pt>
                <c:pt idx="19">
                  <c:v>4267</c:v>
                </c:pt>
                <c:pt idx="20">
                  <c:v>4756</c:v>
                </c:pt>
                <c:pt idx="21">
                  <c:v>3469</c:v>
                </c:pt>
                <c:pt idx="22">
                  <c:v>2581</c:v>
                </c:pt>
                <c:pt idx="23">
                  <c:v>1622</c:v>
                </c:pt>
                <c:pt idx="24">
                  <c:v>3609</c:v>
                </c:pt>
                <c:pt idx="25">
                  <c:v>4457</c:v>
                </c:pt>
                <c:pt idx="26">
                  <c:v>1354</c:v>
                </c:pt>
                <c:pt idx="27">
                  <c:v>68915</c:v>
                </c:pt>
                <c:pt idx="28">
                  <c:v>145023</c:v>
                </c:pt>
                <c:pt idx="29">
                  <c:v>40635</c:v>
                </c:pt>
                <c:pt idx="30">
                  <c:v>36175</c:v>
                </c:pt>
                <c:pt idx="31">
                  <c:v>197993</c:v>
                </c:pt>
                <c:pt idx="32">
                  <c:v>417496</c:v>
                </c:pt>
                <c:pt idx="33">
                  <c:v>425979</c:v>
                </c:pt>
                <c:pt idx="34">
                  <c:v>431490</c:v>
                </c:pt>
                <c:pt idx="35">
                  <c:v>404046</c:v>
                </c:pt>
                <c:pt idx="36">
                  <c:v>371595</c:v>
                </c:pt>
                <c:pt idx="37">
                  <c:v>363183</c:v>
                </c:pt>
                <c:pt idx="38">
                  <c:v>368295</c:v>
                </c:pt>
                <c:pt idx="39">
                  <c:v>402877</c:v>
                </c:pt>
                <c:pt idx="40">
                  <c:v>452050</c:v>
                </c:pt>
                <c:pt idx="41">
                  <c:v>455627</c:v>
                </c:pt>
                <c:pt idx="42">
                  <c:v>432227</c:v>
                </c:pt>
                <c:pt idx="43">
                  <c:v>109570</c:v>
                </c:pt>
                <c:pt idx="44">
                  <c:v>92929</c:v>
                </c:pt>
                <c:pt idx="45">
                  <c:v>111800</c:v>
                </c:pt>
                <c:pt idx="46">
                  <c:v>173588</c:v>
                </c:pt>
                <c:pt idx="47">
                  <c:v>190142</c:v>
                </c:pt>
                <c:pt idx="48">
                  <c:v>285756</c:v>
                </c:pt>
                <c:pt idx="49">
                  <c:v>347454</c:v>
                </c:pt>
                <c:pt idx="50">
                  <c:v>588849</c:v>
                </c:pt>
                <c:pt idx="51">
                  <c:v>619477</c:v>
                </c:pt>
                <c:pt idx="52">
                  <c:v>22478</c:v>
                </c:pt>
                <c:pt idx="53">
                  <c:v>46048</c:v>
                </c:pt>
                <c:pt idx="54">
                  <c:v>22951</c:v>
                </c:pt>
                <c:pt idx="55">
                  <c:v>11239</c:v>
                </c:pt>
                <c:pt idx="56">
                  <c:v>40758</c:v>
                </c:pt>
                <c:pt idx="57">
                  <c:v>73442</c:v>
                </c:pt>
                <c:pt idx="58">
                  <c:v>123274</c:v>
                </c:pt>
                <c:pt idx="59">
                  <c:v>254506</c:v>
                </c:pt>
                <c:pt idx="60">
                  <c:v>165008</c:v>
                </c:pt>
                <c:pt idx="61">
                  <c:v>116548</c:v>
                </c:pt>
                <c:pt idx="62">
                  <c:v>94911</c:v>
                </c:pt>
                <c:pt idx="63">
                  <c:v>191597</c:v>
                </c:pt>
                <c:pt idx="64">
                  <c:v>136729</c:v>
                </c:pt>
                <c:pt idx="65">
                  <c:v>126928</c:v>
                </c:pt>
                <c:pt idx="66">
                  <c:v>132441</c:v>
                </c:pt>
                <c:pt idx="67">
                  <c:v>184920</c:v>
                </c:pt>
                <c:pt idx="68">
                  <c:v>120792</c:v>
                </c:pt>
                <c:pt idx="69">
                  <c:v>123232</c:v>
                </c:pt>
                <c:pt idx="70">
                  <c:v>111693</c:v>
                </c:pt>
                <c:pt idx="71">
                  <c:v>119126</c:v>
                </c:pt>
                <c:pt idx="72">
                  <c:v>121233</c:v>
                </c:pt>
                <c:pt idx="73">
                  <c:v>1146</c:v>
                </c:pt>
                <c:pt idx="74">
                  <c:v>1941</c:v>
                </c:pt>
                <c:pt idx="75">
                  <c:v>1636</c:v>
                </c:pt>
                <c:pt idx="76">
                  <c:v>3440</c:v>
                </c:pt>
                <c:pt idx="77">
                  <c:v>1163</c:v>
                </c:pt>
                <c:pt idx="78">
                  <c:v>3053</c:v>
                </c:pt>
                <c:pt idx="79">
                  <c:v>28894</c:v>
                </c:pt>
                <c:pt idx="80">
                  <c:v>53244</c:v>
                </c:pt>
                <c:pt idx="81">
                  <c:v>54768</c:v>
                </c:pt>
                <c:pt idx="82">
                  <c:v>52939</c:v>
                </c:pt>
                <c:pt idx="83">
                  <c:v>15422</c:v>
                </c:pt>
                <c:pt idx="84">
                  <c:v>13768</c:v>
                </c:pt>
                <c:pt idx="85">
                  <c:v>1571</c:v>
                </c:pt>
                <c:pt idx="86">
                  <c:v>8979</c:v>
                </c:pt>
                <c:pt idx="87">
                  <c:v>1787</c:v>
                </c:pt>
                <c:pt idx="88">
                  <c:v>1979</c:v>
                </c:pt>
                <c:pt idx="89">
                  <c:v>1757</c:v>
                </c:pt>
                <c:pt idx="90">
                  <c:v>28269</c:v>
                </c:pt>
                <c:pt idx="91">
                  <c:v>69306</c:v>
                </c:pt>
                <c:pt idx="92">
                  <c:v>133393</c:v>
                </c:pt>
                <c:pt idx="93">
                  <c:v>187532</c:v>
                </c:pt>
                <c:pt idx="94">
                  <c:v>132265</c:v>
                </c:pt>
                <c:pt idx="95">
                  <c:v>73051</c:v>
                </c:pt>
                <c:pt idx="96">
                  <c:v>92917</c:v>
                </c:pt>
                <c:pt idx="97">
                  <c:v>162888</c:v>
                </c:pt>
                <c:pt idx="98">
                  <c:v>294214</c:v>
                </c:pt>
                <c:pt idx="99">
                  <c:v>404954</c:v>
                </c:pt>
                <c:pt idx="100">
                  <c:v>486127</c:v>
                </c:pt>
                <c:pt idx="101">
                  <c:v>521417</c:v>
                </c:pt>
                <c:pt idx="102">
                  <c:v>642249</c:v>
                </c:pt>
                <c:pt idx="103">
                  <c:v>904039</c:v>
                </c:pt>
                <c:pt idx="104">
                  <c:v>177058</c:v>
                </c:pt>
                <c:pt idx="105">
                  <c:v>153752</c:v>
                </c:pt>
                <c:pt idx="106">
                  <c:v>151608</c:v>
                </c:pt>
                <c:pt idx="107">
                  <c:v>13660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26766</c:v>
                </c:pt>
                <c:pt idx="1">
                  <c:v>621705</c:v>
                </c:pt>
                <c:pt idx="2">
                  <c:v>610980</c:v>
                </c:pt>
                <c:pt idx="3">
                  <c:v>587925</c:v>
                </c:pt>
                <c:pt idx="4">
                  <c:v>610084</c:v>
                </c:pt>
                <c:pt idx="5">
                  <c:v>618129</c:v>
                </c:pt>
                <c:pt idx="6">
                  <c:v>588858</c:v>
                </c:pt>
                <c:pt idx="7">
                  <c:v>607789</c:v>
                </c:pt>
                <c:pt idx="8">
                  <c:v>649406</c:v>
                </c:pt>
                <c:pt idx="9">
                  <c:v>601290</c:v>
                </c:pt>
                <c:pt idx="10">
                  <c:v>589178</c:v>
                </c:pt>
                <c:pt idx="11">
                  <c:v>598106</c:v>
                </c:pt>
                <c:pt idx="12">
                  <c:v>621773</c:v>
                </c:pt>
                <c:pt idx="13">
                  <c:v>650118</c:v>
                </c:pt>
                <c:pt idx="14">
                  <c:v>553651</c:v>
                </c:pt>
                <c:pt idx="15">
                  <c:v>610655</c:v>
                </c:pt>
                <c:pt idx="16">
                  <c:v>616402</c:v>
                </c:pt>
                <c:pt idx="17">
                  <c:v>681321</c:v>
                </c:pt>
                <c:pt idx="18">
                  <c:v>641213</c:v>
                </c:pt>
                <c:pt idx="19">
                  <c:v>637139</c:v>
                </c:pt>
                <c:pt idx="20">
                  <c:v>690797</c:v>
                </c:pt>
                <c:pt idx="21">
                  <c:v>711570</c:v>
                </c:pt>
                <c:pt idx="22">
                  <c:v>719989</c:v>
                </c:pt>
                <c:pt idx="23">
                  <c:v>695446</c:v>
                </c:pt>
                <c:pt idx="24">
                  <c:v>680424</c:v>
                </c:pt>
                <c:pt idx="25">
                  <c:v>698011</c:v>
                </c:pt>
                <c:pt idx="26">
                  <c:v>723940</c:v>
                </c:pt>
                <c:pt idx="27">
                  <c:v>642371</c:v>
                </c:pt>
                <c:pt idx="28">
                  <c:v>618005</c:v>
                </c:pt>
                <c:pt idx="29">
                  <c:v>668042</c:v>
                </c:pt>
                <c:pt idx="30">
                  <c:v>716564</c:v>
                </c:pt>
                <c:pt idx="31">
                  <c:v>520388</c:v>
                </c:pt>
                <c:pt idx="32">
                  <c:v>316209</c:v>
                </c:pt>
                <c:pt idx="33">
                  <c:v>287762</c:v>
                </c:pt>
                <c:pt idx="34">
                  <c:v>296424</c:v>
                </c:pt>
                <c:pt idx="35">
                  <c:v>315252</c:v>
                </c:pt>
                <c:pt idx="36">
                  <c:v>305756</c:v>
                </c:pt>
                <c:pt idx="37">
                  <c:v>299212</c:v>
                </c:pt>
                <c:pt idx="38">
                  <c:v>295075</c:v>
                </c:pt>
                <c:pt idx="39">
                  <c:v>300768</c:v>
                </c:pt>
                <c:pt idx="40">
                  <c:v>271068</c:v>
                </c:pt>
                <c:pt idx="41">
                  <c:v>272350</c:v>
                </c:pt>
                <c:pt idx="42">
                  <c:v>277988</c:v>
                </c:pt>
                <c:pt idx="43">
                  <c:v>628455</c:v>
                </c:pt>
                <c:pt idx="44">
                  <c:v>657886</c:v>
                </c:pt>
                <c:pt idx="45">
                  <c:v>629083</c:v>
                </c:pt>
                <c:pt idx="46">
                  <c:v>583973</c:v>
                </c:pt>
                <c:pt idx="47">
                  <c:v>622282</c:v>
                </c:pt>
                <c:pt idx="48">
                  <c:v>635226</c:v>
                </c:pt>
                <c:pt idx="49">
                  <c:v>623274</c:v>
                </c:pt>
                <c:pt idx="50">
                  <c:v>673706</c:v>
                </c:pt>
                <c:pt idx="51">
                  <c:v>499243</c:v>
                </c:pt>
                <c:pt idx="52">
                  <c:v>551895</c:v>
                </c:pt>
                <c:pt idx="53">
                  <c:v>500677</c:v>
                </c:pt>
                <c:pt idx="54">
                  <c:v>534065</c:v>
                </c:pt>
                <c:pt idx="55">
                  <c:v>587107</c:v>
                </c:pt>
                <c:pt idx="56">
                  <c:v>587613</c:v>
                </c:pt>
                <c:pt idx="57">
                  <c:v>565257</c:v>
                </c:pt>
                <c:pt idx="58">
                  <c:v>480333</c:v>
                </c:pt>
                <c:pt idx="59">
                  <c:v>468627</c:v>
                </c:pt>
                <c:pt idx="60">
                  <c:v>511941</c:v>
                </c:pt>
                <c:pt idx="61">
                  <c:v>537177</c:v>
                </c:pt>
                <c:pt idx="62">
                  <c:v>522787</c:v>
                </c:pt>
                <c:pt idx="63">
                  <c:v>477986</c:v>
                </c:pt>
                <c:pt idx="64">
                  <c:v>512094</c:v>
                </c:pt>
                <c:pt idx="65">
                  <c:v>512537</c:v>
                </c:pt>
                <c:pt idx="66">
                  <c:v>484247</c:v>
                </c:pt>
                <c:pt idx="67">
                  <c:v>488318</c:v>
                </c:pt>
                <c:pt idx="68">
                  <c:v>488224</c:v>
                </c:pt>
                <c:pt idx="69">
                  <c:v>516622</c:v>
                </c:pt>
                <c:pt idx="70">
                  <c:v>513517</c:v>
                </c:pt>
                <c:pt idx="71">
                  <c:v>482039</c:v>
                </c:pt>
                <c:pt idx="72">
                  <c:v>546661</c:v>
                </c:pt>
                <c:pt idx="73">
                  <c:v>610194</c:v>
                </c:pt>
                <c:pt idx="74">
                  <c:v>658376</c:v>
                </c:pt>
                <c:pt idx="75">
                  <c:v>620936</c:v>
                </c:pt>
                <c:pt idx="76">
                  <c:v>618776</c:v>
                </c:pt>
                <c:pt idx="77">
                  <c:v>616212</c:v>
                </c:pt>
                <c:pt idx="78">
                  <c:v>666232</c:v>
                </c:pt>
                <c:pt idx="79">
                  <c:v>591752</c:v>
                </c:pt>
                <c:pt idx="80">
                  <c:v>575596</c:v>
                </c:pt>
                <c:pt idx="81">
                  <c:v>561891</c:v>
                </c:pt>
                <c:pt idx="82">
                  <c:v>586620</c:v>
                </c:pt>
                <c:pt idx="83">
                  <c:v>610780</c:v>
                </c:pt>
                <c:pt idx="84">
                  <c:v>605599</c:v>
                </c:pt>
                <c:pt idx="85">
                  <c:v>608238</c:v>
                </c:pt>
                <c:pt idx="86">
                  <c:v>598287</c:v>
                </c:pt>
                <c:pt idx="87">
                  <c:v>614485</c:v>
                </c:pt>
                <c:pt idx="88">
                  <c:v>573532</c:v>
                </c:pt>
                <c:pt idx="89">
                  <c:v>576262</c:v>
                </c:pt>
                <c:pt idx="90">
                  <c:v>540592</c:v>
                </c:pt>
                <c:pt idx="91">
                  <c:v>592284</c:v>
                </c:pt>
                <c:pt idx="92">
                  <c:v>477479</c:v>
                </c:pt>
                <c:pt idx="93">
                  <c:v>465499</c:v>
                </c:pt>
                <c:pt idx="94">
                  <c:v>507940</c:v>
                </c:pt>
                <c:pt idx="95">
                  <c:v>572316</c:v>
                </c:pt>
                <c:pt idx="96">
                  <c:v>594214</c:v>
                </c:pt>
                <c:pt idx="97">
                  <c:v>515734</c:v>
                </c:pt>
                <c:pt idx="98">
                  <c:v>396720</c:v>
                </c:pt>
                <c:pt idx="99">
                  <c:v>330944</c:v>
                </c:pt>
                <c:pt idx="100">
                  <c:v>362273</c:v>
                </c:pt>
                <c:pt idx="101">
                  <c:v>391348</c:v>
                </c:pt>
                <c:pt idx="102">
                  <c:v>446137</c:v>
                </c:pt>
                <c:pt idx="103">
                  <c:v>410877</c:v>
                </c:pt>
                <c:pt idx="104">
                  <c:v>399989</c:v>
                </c:pt>
                <c:pt idx="105">
                  <c:v>373381</c:v>
                </c:pt>
                <c:pt idx="106">
                  <c:v>395564</c:v>
                </c:pt>
                <c:pt idx="107">
                  <c:v>35683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1653</c:v>
                </c:pt>
                <c:pt idx="1">
                  <c:v>710030</c:v>
                </c:pt>
                <c:pt idx="2">
                  <c:v>700302</c:v>
                </c:pt>
                <c:pt idx="3">
                  <c:v>647517</c:v>
                </c:pt>
                <c:pt idx="4">
                  <c:v>656069</c:v>
                </c:pt>
                <c:pt idx="5">
                  <c:v>681498</c:v>
                </c:pt>
                <c:pt idx="6">
                  <c:v>662167</c:v>
                </c:pt>
                <c:pt idx="7">
                  <c:v>736349</c:v>
                </c:pt>
                <c:pt idx="8">
                  <c:v>741168</c:v>
                </c:pt>
                <c:pt idx="9">
                  <c:v>692871</c:v>
                </c:pt>
                <c:pt idx="10">
                  <c:v>695844</c:v>
                </c:pt>
                <c:pt idx="11">
                  <c:v>712416</c:v>
                </c:pt>
                <c:pt idx="12">
                  <c:v>653197</c:v>
                </c:pt>
                <c:pt idx="13">
                  <c:v>718854</c:v>
                </c:pt>
                <c:pt idx="14">
                  <c:v>647746</c:v>
                </c:pt>
                <c:pt idx="15">
                  <c:v>732467</c:v>
                </c:pt>
                <c:pt idx="16">
                  <c:v>655359</c:v>
                </c:pt>
                <c:pt idx="17">
                  <c:v>690817</c:v>
                </c:pt>
                <c:pt idx="18">
                  <c:v>647045</c:v>
                </c:pt>
                <c:pt idx="19">
                  <c:v>641406</c:v>
                </c:pt>
                <c:pt idx="20">
                  <c:v>695553</c:v>
                </c:pt>
                <c:pt idx="21">
                  <c:v>715039</c:v>
                </c:pt>
                <c:pt idx="22">
                  <c:v>722570</c:v>
                </c:pt>
                <c:pt idx="23">
                  <c:v>697068</c:v>
                </c:pt>
                <c:pt idx="24">
                  <c:v>684033</c:v>
                </c:pt>
                <c:pt idx="25">
                  <c:v>702468</c:v>
                </c:pt>
                <c:pt idx="26">
                  <c:v>725294</c:v>
                </c:pt>
                <c:pt idx="27">
                  <c:v>711286</c:v>
                </c:pt>
                <c:pt idx="28">
                  <c:v>763028</c:v>
                </c:pt>
                <c:pt idx="29">
                  <c:v>708677</c:v>
                </c:pt>
                <c:pt idx="30">
                  <c:v>752739</c:v>
                </c:pt>
                <c:pt idx="31">
                  <c:v>718381</c:v>
                </c:pt>
                <c:pt idx="32">
                  <c:v>733705</c:v>
                </c:pt>
                <c:pt idx="33">
                  <c:v>713741</c:v>
                </c:pt>
                <c:pt idx="34">
                  <c:v>727914</c:v>
                </c:pt>
                <c:pt idx="35">
                  <c:v>719298</c:v>
                </c:pt>
                <c:pt idx="36">
                  <c:v>677351</c:v>
                </c:pt>
                <c:pt idx="37">
                  <c:v>662395</c:v>
                </c:pt>
                <c:pt idx="38">
                  <c:v>663370</c:v>
                </c:pt>
                <c:pt idx="39">
                  <c:v>703645</c:v>
                </c:pt>
                <c:pt idx="40">
                  <c:v>723118</c:v>
                </c:pt>
                <c:pt idx="41">
                  <c:v>727977</c:v>
                </c:pt>
                <c:pt idx="42">
                  <c:v>710215</c:v>
                </c:pt>
                <c:pt idx="43">
                  <c:v>738025</c:v>
                </c:pt>
                <c:pt idx="44">
                  <c:v>750815</c:v>
                </c:pt>
                <c:pt idx="45">
                  <c:v>740883</c:v>
                </c:pt>
                <c:pt idx="46">
                  <c:v>757561</c:v>
                </c:pt>
                <c:pt idx="47">
                  <c:v>812424</c:v>
                </c:pt>
                <c:pt idx="48">
                  <c:v>920982</c:v>
                </c:pt>
                <c:pt idx="49">
                  <c:v>970728</c:v>
                </c:pt>
                <c:pt idx="50">
                  <c:v>1262555</c:v>
                </c:pt>
                <c:pt idx="51">
                  <c:v>1118720</c:v>
                </c:pt>
                <c:pt idx="52">
                  <c:v>574373</c:v>
                </c:pt>
                <c:pt idx="53">
                  <c:v>546725</c:v>
                </c:pt>
                <c:pt idx="54">
                  <c:v>557016</c:v>
                </c:pt>
                <c:pt idx="55">
                  <c:v>598346</c:v>
                </c:pt>
                <c:pt idx="56">
                  <c:v>628371</c:v>
                </c:pt>
                <c:pt idx="57">
                  <c:v>638699</c:v>
                </c:pt>
                <c:pt idx="58">
                  <c:v>603607</c:v>
                </c:pt>
                <c:pt idx="59">
                  <c:v>723133</c:v>
                </c:pt>
                <c:pt idx="60">
                  <c:v>676949</c:v>
                </c:pt>
                <c:pt idx="61">
                  <c:v>653725</c:v>
                </c:pt>
                <c:pt idx="62">
                  <c:v>617698</c:v>
                </c:pt>
                <c:pt idx="63">
                  <c:v>669583</c:v>
                </c:pt>
                <c:pt idx="64">
                  <c:v>648823</c:v>
                </c:pt>
                <c:pt idx="65">
                  <c:v>639465</c:v>
                </c:pt>
                <c:pt idx="66">
                  <c:v>616688</c:v>
                </c:pt>
                <c:pt idx="67">
                  <c:v>673238</c:v>
                </c:pt>
                <c:pt idx="68">
                  <c:v>609016</c:v>
                </c:pt>
                <c:pt idx="69">
                  <c:v>639854</c:v>
                </c:pt>
                <c:pt idx="70">
                  <c:v>625210</c:v>
                </c:pt>
                <c:pt idx="71">
                  <c:v>601165</c:v>
                </c:pt>
                <c:pt idx="72">
                  <c:v>667894</c:v>
                </c:pt>
                <c:pt idx="73">
                  <c:v>611340</c:v>
                </c:pt>
                <c:pt idx="74">
                  <c:v>660317</c:v>
                </c:pt>
                <c:pt idx="75">
                  <c:v>622572</c:v>
                </c:pt>
                <c:pt idx="76">
                  <c:v>622216</c:v>
                </c:pt>
                <c:pt idx="77">
                  <c:v>617375</c:v>
                </c:pt>
                <c:pt idx="78">
                  <c:v>669285</c:v>
                </c:pt>
                <c:pt idx="79">
                  <c:v>620646</c:v>
                </c:pt>
                <c:pt idx="80">
                  <c:v>628840</c:v>
                </c:pt>
                <c:pt idx="81">
                  <c:v>616659</c:v>
                </c:pt>
                <c:pt idx="82">
                  <c:v>639559</c:v>
                </c:pt>
                <c:pt idx="83">
                  <c:v>626202</c:v>
                </c:pt>
                <c:pt idx="84">
                  <c:v>619367</c:v>
                </c:pt>
                <c:pt idx="85">
                  <c:v>609809</c:v>
                </c:pt>
                <c:pt idx="86">
                  <c:v>607266</c:v>
                </c:pt>
                <c:pt idx="87">
                  <c:v>616272</c:v>
                </c:pt>
                <c:pt idx="88">
                  <c:v>575511</c:v>
                </c:pt>
                <c:pt idx="89">
                  <c:v>578019</c:v>
                </c:pt>
                <c:pt idx="90">
                  <c:v>568861</c:v>
                </c:pt>
                <c:pt idx="91">
                  <c:v>661590</c:v>
                </c:pt>
                <c:pt idx="92">
                  <c:v>610872</c:v>
                </c:pt>
                <c:pt idx="93">
                  <c:v>653031</c:v>
                </c:pt>
                <c:pt idx="94">
                  <c:v>640205</c:v>
                </c:pt>
                <c:pt idx="95">
                  <c:v>645367</c:v>
                </c:pt>
                <c:pt idx="96">
                  <c:v>687131</c:v>
                </c:pt>
                <c:pt idx="97">
                  <c:v>678622</c:v>
                </c:pt>
                <c:pt idx="98">
                  <c:v>690934</c:v>
                </c:pt>
                <c:pt idx="99">
                  <c:v>735898</c:v>
                </c:pt>
                <c:pt idx="100">
                  <c:v>848400</c:v>
                </c:pt>
                <c:pt idx="101">
                  <c:v>912765</c:v>
                </c:pt>
                <c:pt idx="102">
                  <c:v>1088386</c:v>
                </c:pt>
                <c:pt idx="103">
                  <c:v>1314916</c:v>
                </c:pt>
                <c:pt idx="104">
                  <c:v>577047</c:v>
                </c:pt>
                <c:pt idx="105">
                  <c:v>527133</c:v>
                </c:pt>
                <c:pt idx="106">
                  <c:v>547172</c:v>
                </c:pt>
                <c:pt idx="107">
                  <c:v>493441</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46938</c:v>
                </c:pt>
                <c:pt idx="1">
                  <c:v>646524</c:v>
                </c:pt>
                <c:pt idx="2">
                  <c:v>650739</c:v>
                </c:pt>
                <c:pt idx="3">
                  <c:v>651421</c:v>
                </c:pt>
                <c:pt idx="4">
                  <c:v>657901</c:v>
                </c:pt>
                <c:pt idx="5">
                  <c:v>665019</c:v>
                </c:pt>
                <c:pt idx="6">
                  <c:v>673817</c:v>
                </c:pt>
                <c:pt idx="7">
                  <c:v>687870</c:v>
                </c:pt>
                <c:pt idx="8">
                  <c:v>698229</c:v>
                </c:pt>
                <c:pt idx="9">
                  <c:v>699286</c:v>
                </c:pt>
                <c:pt idx="10">
                  <c:v>696444</c:v>
                </c:pt>
                <c:pt idx="11">
                  <c:v>693949</c:v>
                </c:pt>
                <c:pt idx="12">
                  <c:v>693820</c:v>
                </c:pt>
                <c:pt idx="13">
                  <c:v>685022</c:v>
                </c:pt>
                <c:pt idx="14">
                  <c:v>685209</c:v>
                </c:pt>
                <c:pt idx="15">
                  <c:v>680323</c:v>
                </c:pt>
                <c:pt idx="16">
                  <c:v>671337</c:v>
                </c:pt>
                <c:pt idx="17">
                  <c:v>676131</c:v>
                </c:pt>
                <c:pt idx="18">
                  <c:v>676837</c:v>
                </c:pt>
                <c:pt idx="19">
                  <c:v>686103</c:v>
                </c:pt>
                <c:pt idx="20">
                  <c:v>683069</c:v>
                </c:pt>
                <c:pt idx="21">
                  <c:v>686814</c:v>
                </c:pt>
                <c:pt idx="22">
                  <c:v>688517</c:v>
                </c:pt>
                <c:pt idx="23">
                  <c:v>698333</c:v>
                </c:pt>
                <c:pt idx="24">
                  <c:v>706668</c:v>
                </c:pt>
                <c:pt idx="25">
                  <c:v>714372</c:v>
                </c:pt>
                <c:pt idx="26">
                  <c:v>713124</c:v>
                </c:pt>
                <c:pt idx="27">
                  <c:v>715779</c:v>
                </c:pt>
                <c:pt idx="28">
                  <c:v>720268</c:v>
                </c:pt>
                <c:pt idx="29">
                  <c:v>725586</c:v>
                </c:pt>
                <c:pt idx="30">
                  <c:v>727445</c:v>
                </c:pt>
                <c:pt idx="31">
                  <c:v>729452</c:v>
                </c:pt>
                <c:pt idx="32">
                  <c:v>731405</c:v>
                </c:pt>
                <c:pt idx="33">
                  <c:v>719754</c:v>
                </c:pt>
                <c:pt idx="34">
                  <c:v>726631</c:v>
                </c:pt>
                <c:pt idx="35">
                  <c:v>719477</c:v>
                </c:pt>
                <c:pt idx="36">
                  <c:v>716560</c:v>
                </c:pt>
                <c:pt idx="37">
                  <c:v>709546</c:v>
                </c:pt>
                <c:pt idx="38">
                  <c:v>707270</c:v>
                </c:pt>
                <c:pt idx="39">
                  <c:v>704770</c:v>
                </c:pt>
                <c:pt idx="40">
                  <c:v>740258</c:v>
                </c:pt>
                <c:pt idx="41">
                  <c:v>754650</c:v>
                </c:pt>
                <c:pt idx="42">
                  <c:v>726558</c:v>
                </c:pt>
                <c:pt idx="43">
                  <c:v>705822</c:v>
                </c:pt>
                <c:pt idx="44">
                  <c:v>711982</c:v>
                </c:pt>
                <c:pt idx="45">
                  <c:v>734482</c:v>
                </c:pt>
                <c:pt idx="46">
                  <c:v>732857</c:v>
                </c:pt>
                <c:pt idx="47">
                  <c:v>741573</c:v>
                </c:pt>
                <c:pt idx="48">
                  <c:v>720886</c:v>
                </c:pt>
                <c:pt idx="49">
                  <c:v>703558</c:v>
                </c:pt>
                <c:pt idx="50">
                  <c:v>689052</c:v>
                </c:pt>
                <c:pt idx="51">
                  <c:v>738772</c:v>
                </c:pt>
                <c:pt idx="52">
                  <c:v>685992</c:v>
                </c:pt>
                <c:pt idx="53">
                  <c:v>650888</c:v>
                </c:pt>
                <c:pt idx="54">
                  <c:v>607388</c:v>
                </c:pt>
                <c:pt idx="55">
                  <c:v>573482</c:v>
                </c:pt>
                <c:pt idx="56">
                  <c:v>594169</c:v>
                </c:pt>
                <c:pt idx="57">
                  <c:v>620565</c:v>
                </c:pt>
                <c:pt idx="58">
                  <c:v>630396</c:v>
                </c:pt>
                <c:pt idx="59">
                  <c:v>639504</c:v>
                </c:pt>
                <c:pt idx="60">
                  <c:v>651686</c:v>
                </c:pt>
                <c:pt idx="61">
                  <c:v>654528</c:v>
                </c:pt>
                <c:pt idx="62">
                  <c:v>654557</c:v>
                </c:pt>
                <c:pt idx="63">
                  <c:v>654310</c:v>
                </c:pt>
                <c:pt idx="64">
                  <c:v>649782</c:v>
                </c:pt>
                <c:pt idx="65">
                  <c:v>643348</c:v>
                </c:pt>
                <c:pt idx="66">
                  <c:v>640849</c:v>
                </c:pt>
                <c:pt idx="67">
                  <c:v>637789</c:v>
                </c:pt>
                <c:pt idx="68">
                  <c:v>625950</c:v>
                </c:pt>
                <c:pt idx="69">
                  <c:v>628914</c:v>
                </c:pt>
                <c:pt idx="70">
                  <c:v>626215</c:v>
                </c:pt>
                <c:pt idx="71">
                  <c:v>631226</c:v>
                </c:pt>
                <c:pt idx="72">
                  <c:v>629766</c:v>
                </c:pt>
                <c:pt idx="73">
                  <c:v>629780</c:v>
                </c:pt>
                <c:pt idx="74">
                  <c:v>627524</c:v>
                </c:pt>
                <c:pt idx="75">
                  <c:v>633617</c:v>
                </c:pt>
                <c:pt idx="76">
                  <c:v>635888</c:v>
                </c:pt>
                <c:pt idx="77">
                  <c:v>631897</c:v>
                </c:pt>
                <c:pt idx="78">
                  <c:v>632462</c:v>
                </c:pt>
                <c:pt idx="79">
                  <c:v>629431</c:v>
                </c:pt>
                <c:pt idx="80">
                  <c:v>629930</c:v>
                </c:pt>
                <c:pt idx="81">
                  <c:v>629087</c:v>
                </c:pt>
                <c:pt idx="82">
                  <c:v>629375</c:v>
                </c:pt>
                <c:pt idx="83">
                  <c:v>621025</c:v>
                </c:pt>
                <c:pt idx="84">
                  <c:v>620516</c:v>
                </c:pt>
                <c:pt idx="85">
                  <c:v>614140</c:v>
                </c:pt>
                <c:pt idx="86">
                  <c:v>609198</c:v>
                </c:pt>
                <c:pt idx="87">
                  <c:v>600566</c:v>
                </c:pt>
                <c:pt idx="88">
                  <c:v>604321</c:v>
                </c:pt>
                <c:pt idx="89">
                  <c:v>601175</c:v>
                </c:pt>
                <c:pt idx="90">
                  <c:v>599523</c:v>
                </c:pt>
                <c:pt idx="91">
                  <c:v>596953</c:v>
                </c:pt>
                <c:pt idx="92">
                  <c:v>603351</c:v>
                </c:pt>
                <c:pt idx="93">
                  <c:v>642066</c:v>
                </c:pt>
                <c:pt idx="94">
                  <c:v>653310</c:v>
                </c:pt>
                <c:pt idx="95">
                  <c:v>664294</c:v>
                </c:pt>
                <c:pt idx="96">
                  <c:v>668462</c:v>
                </c:pt>
                <c:pt idx="97">
                  <c:v>678988</c:v>
                </c:pt>
                <c:pt idx="98">
                  <c:v>688776</c:v>
                </c:pt>
                <c:pt idx="99">
                  <c:v>688378</c:v>
                </c:pt>
                <c:pt idx="100">
                  <c:v>698876</c:v>
                </c:pt>
                <c:pt idx="101">
                  <c:v>696393</c:v>
                </c:pt>
                <c:pt idx="102">
                  <c:v>693203</c:v>
                </c:pt>
                <c:pt idx="103">
                  <c:v>689698</c:v>
                </c:pt>
                <c:pt idx="104">
                  <c:v>603047</c:v>
                </c:pt>
                <c:pt idx="105">
                  <c:v>556986</c:v>
                </c:pt>
                <c:pt idx="106">
                  <c:v>581217</c:v>
                </c:pt>
                <c:pt idx="107">
                  <c:v>55790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c:v>
                </c:pt>
                <c:pt idx="22">
                  <c:v>0</c:v>
                </c:pt>
                <c:pt idx="23">
                  <c:v>0</c:v>
                </c:pt>
                <c:pt idx="24">
                  <c:v>0.01</c:v>
                </c:pt>
                <c:pt idx="25">
                  <c:v>0.01</c:v>
                </c:pt>
                <c:pt idx="26">
                  <c:v>0</c:v>
                </c:pt>
                <c:pt idx="27">
                  <c:v>0.1</c:v>
                </c:pt>
                <c:pt idx="28">
                  <c:v>0.18</c:v>
                </c:pt>
                <c:pt idx="29">
                  <c:v>0.05</c:v>
                </c:pt>
                <c:pt idx="30">
                  <c:v>0.03</c:v>
                </c:pt>
                <c:pt idx="31">
                  <c:v>0.35</c:v>
                </c:pt>
                <c:pt idx="32">
                  <c:v>0.78</c:v>
                </c:pt>
                <c:pt idx="33">
                  <c:v>0.81</c:v>
                </c:pt>
                <c:pt idx="34">
                  <c:v>0.81</c:v>
                </c:pt>
                <c:pt idx="35">
                  <c:v>0.8</c:v>
                </c:pt>
                <c:pt idx="36">
                  <c:v>0.8</c:v>
                </c:pt>
                <c:pt idx="37">
                  <c:v>0.79</c:v>
                </c:pt>
                <c:pt idx="38">
                  <c:v>0.79</c:v>
                </c:pt>
                <c:pt idx="39">
                  <c:v>0.79</c:v>
                </c:pt>
                <c:pt idx="40">
                  <c:v>0.81</c:v>
                </c:pt>
                <c:pt idx="41">
                  <c:v>0.8</c:v>
                </c:pt>
                <c:pt idx="42">
                  <c:v>0.79</c:v>
                </c:pt>
                <c:pt idx="43">
                  <c:v>0.08</c:v>
                </c:pt>
                <c:pt idx="44">
                  <c:v>0.08</c:v>
                </c:pt>
                <c:pt idx="45">
                  <c:v>0.1</c:v>
                </c:pt>
                <c:pt idx="46">
                  <c:v>0.16</c:v>
                </c:pt>
                <c:pt idx="47">
                  <c:v>0.17</c:v>
                </c:pt>
                <c:pt idx="48">
                  <c:v>0.25</c:v>
                </c:pt>
                <c:pt idx="49">
                  <c:v>0.27</c:v>
                </c:pt>
                <c:pt idx="50">
                  <c:v>0.36</c:v>
                </c:pt>
                <c:pt idx="51">
                  <c:v>0.55000000000000004</c:v>
                </c:pt>
                <c:pt idx="52">
                  <c:v>0.05</c:v>
                </c:pt>
                <c:pt idx="53">
                  <c:v>0.1</c:v>
                </c:pt>
                <c:pt idx="54">
                  <c:v>0.05</c:v>
                </c:pt>
                <c:pt idx="55">
                  <c:v>0.02</c:v>
                </c:pt>
                <c:pt idx="56">
                  <c:v>0.05</c:v>
                </c:pt>
                <c:pt idx="57">
                  <c:v>7.0000000000000007E-2</c:v>
                </c:pt>
                <c:pt idx="58">
                  <c:v>0.16</c:v>
                </c:pt>
                <c:pt idx="59">
                  <c:v>0.34</c:v>
                </c:pt>
                <c:pt idx="60">
                  <c:v>0.19</c:v>
                </c:pt>
                <c:pt idx="61">
                  <c:v>0.11</c:v>
                </c:pt>
                <c:pt idx="62">
                  <c:v>0.09</c:v>
                </c:pt>
                <c:pt idx="63">
                  <c:v>0.3</c:v>
                </c:pt>
                <c:pt idx="64">
                  <c:v>0.22</c:v>
                </c:pt>
                <c:pt idx="65">
                  <c:v>0.21</c:v>
                </c:pt>
                <c:pt idx="66">
                  <c:v>0.23</c:v>
                </c:pt>
                <c:pt idx="67">
                  <c:v>0.3</c:v>
                </c:pt>
                <c:pt idx="68">
                  <c:v>0.21</c:v>
                </c:pt>
                <c:pt idx="69">
                  <c:v>0.21</c:v>
                </c:pt>
                <c:pt idx="70">
                  <c:v>0.19</c:v>
                </c:pt>
                <c:pt idx="71">
                  <c:v>0.22</c:v>
                </c:pt>
                <c:pt idx="72">
                  <c:v>0.22</c:v>
                </c:pt>
                <c:pt idx="73">
                  <c:v>0</c:v>
                </c:pt>
                <c:pt idx="74">
                  <c:v>0</c:v>
                </c:pt>
                <c:pt idx="75">
                  <c:v>0</c:v>
                </c:pt>
                <c:pt idx="76">
                  <c:v>0.01</c:v>
                </c:pt>
                <c:pt idx="77">
                  <c:v>0</c:v>
                </c:pt>
                <c:pt idx="78">
                  <c:v>0</c:v>
                </c:pt>
                <c:pt idx="79">
                  <c:v>0.03</c:v>
                </c:pt>
                <c:pt idx="80">
                  <c:v>0.05</c:v>
                </c:pt>
                <c:pt idx="81">
                  <c:v>0.05</c:v>
                </c:pt>
                <c:pt idx="82">
                  <c:v>0.05</c:v>
                </c:pt>
                <c:pt idx="83">
                  <c:v>0.01</c:v>
                </c:pt>
                <c:pt idx="84">
                  <c:v>0.01</c:v>
                </c:pt>
                <c:pt idx="85">
                  <c:v>0</c:v>
                </c:pt>
                <c:pt idx="86">
                  <c:v>0.01</c:v>
                </c:pt>
                <c:pt idx="87">
                  <c:v>0</c:v>
                </c:pt>
                <c:pt idx="88">
                  <c:v>0</c:v>
                </c:pt>
                <c:pt idx="89">
                  <c:v>0</c:v>
                </c:pt>
                <c:pt idx="90">
                  <c:v>0.04</c:v>
                </c:pt>
                <c:pt idx="91">
                  <c:v>0.1</c:v>
                </c:pt>
                <c:pt idx="92">
                  <c:v>0.24</c:v>
                </c:pt>
                <c:pt idx="93">
                  <c:v>0.28999999999999998</c:v>
                </c:pt>
                <c:pt idx="94">
                  <c:v>0.19</c:v>
                </c:pt>
                <c:pt idx="95">
                  <c:v>0.09</c:v>
                </c:pt>
                <c:pt idx="96">
                  <c:v>0.1</c:v>
                </c:pt>
                <c:pt idx="97">
                  <c:v>0.18</c:v>
                </c:pt>
                <c:pt idx="98">
                  <c:v>0.3</c:v>
                </c:pt>
                <c:pt idx="99">
                  <c:v>0.44</c:v>
                </c:pt>
                <c:pt idx="100">
                  <c:v>0.5</c:v>
                </c:pt>
                <c:pt idx="101">
                  <c:v>0.45</c:v>
                </c:pt>
                <c:pt idx="102">
                  <c:v>0.45</c:v>
                </c:pt>
                <c:pt idx="103">
                  <c:v>0.64</c:v>
                </c:pt>
                <c:pt idx="104">
                  <c:v>0.2</c:v>
                </c:pt>
                <c:pt idx="105">
                  <c:v>0.18</c:v>
                </c:pt>
                <c:pt idx="106">
                  <c:v>0.17</c:v>
                </c:pt>
                <c:pt idx="107">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593</c:v>
                </c:pt>
                <c:pt idx="1">
                  <c:v>9952</c:v>
                </c:pt>
                <c:pt idx="2">
                  <c:v>7382</c:v>
                </c:pt>
                <c:pt idx="3">
                  <c:v>3239</c:v>
                </c:pt>
                <c:pt idx="4">
                  <c:v>2822</c:v>
                </c:pt>
                <c:pt idx="5">
                  <c:v>1461</c:v>
                </c:pt>
                <c:pt idx="6">
                  <c:v>1403</c:v>
                </c:pt>
                <c:pt idx="7">
                  <c:v>1490</c:v>
                </c:pt>
                <c:pt idx="8">
                  <c:v>1696</c:v>
                </c:pt>
                <c:pt idx="9">
                  <c:v>1381</c:v>
                </c:pt>
                <c:pt idx="10">
                  <c:v>823</c:v>
                </c:pt>
                <c:pt idx="11">
                  <c:v>3540</c:v>
                </c:pt>
                <c:pt idx="12">
                  <c:v>2955</c:v>
                </c:pt>
                <c:pt idx="13">
                  <c:v>582</c:v>
                </c:pt>
                <c:pt idx="14">
                  <c:v>15105</c:v>
                </c:pt>
                <c:pt idx="15">
                  <c:v>14072</c:v>
                </c:pt>
                <c:pt idx="16">
                  <c:v>6536</c:v>
                </c:pt>
                <c:pt idx="17">
                  <c:v>5267</c:v>
                </c:pt>
                <c:pt idx="18">
                  <c:v>4067</c:v>
                </c:pt>
                <c:pt idx="19">
                  <c:v>2819</c:v>
                </c:pt>
                <c:pt idx="20">
                  <c:v>2712</c:v>
                </c:pt>
                <c:pt idx="21">
                  <c:v>10898</c:v>
                </c:pt>
                <c:pt idx="22">
                  <c:v>2457</c:v>
                </c:pt>
                <c:pt idx="23">
                  <c:v>1868</c:v>
                </c:pt>
                <c:pt idx="24">
                  <c:v>3463</c:v>
                </c:pt>
                <c:pt idx="25">
                  <c:v>1913</c:v>
                </c:pt>
                <c:pt idx="26">
                  <c:v>1839</c:v>
                </c:pt>
                <c:pt idx="27">
                  <c:v>2594</c:v>
                </c:pt>
                <c:pt idx="28">
                  <c:v>23808</c:v>
                </c:pt>
                <c:pt idx="29">
                  <c:v>16059</c:v>
                </c:pt>
                <c:pt idx="30">
                  <c:v>7567</c:v>
                </c:pt>
                <c:pt idx="31">
                  <c:v>5638</c:v>
                </c:pt>
                <c:pt idx="32">
                  <c:v>7448</c:v>
                </c:pt>
                <c:pt idx="33">
                  <c:v>6871</c:v>
                </c:pt>
                <c:pt idx="34">
                  <c:v>6174</c:v>
                </c:pt>
                <c:pt idx="35">
                  <c:v>6679</c:v>
                </c:pt>
                <c:pt idx="36">
                  <c:v>15220</c:v>
                </c:pt>
                <c:pt idx="37">
                  <c:v>20606</c:v>
                </c:pt>
                <c:pt idx="38">
                  <c:v>22989</c:v>
                </c:pt>
                <c:pt idx="39">
                  <c:v>20781</c:v>
                </c:pt>
                <c:pt idx="40">
                  <c:v>16464</c:v>
                </c:pt>
                <c:pt idx="41">
                  <c:v>15075</c:v>
                </c:pt>
                <c:pt idx="42">
                  <c:v>12672</c:v>
                </c:pt>
                <c:pt idx="43">
                  <c:v>10767</c:v>
                </c:pt>
                <c:pt idx="44">
                  <c:v>9388</c:v>
                </c:pt>
                <c:pt idx="45">
                  <c:v>8235</c:v>
                </c:pt>
                <c:pt idx="46">
                  <c:v>7170</c:v>
                </c:pt>
                <c:pt idx="47">
                  <c:v>3654</c:v>
                </c:pt>
                <c:pt idx="48">
                  <c:v>5041</c:v>
                </c:pt>
                <c:pt idx="49">
                  <c:v>8409</c:v>
                </c:pt>
                <c:pt idx="50">
                  <c:v>12711</c:v>
                </c:pt>
                <c:pt idx="51">
                  <c:v>7758</c:v>
                </c:pt>
                <c:pt idx="52">
                  <c:v>27703</c:v>
                </c:pt>
                <c:pt idx="53">
                  <c:v>56138</c:v>
                </c:pt>
                <c:pt idx="54">
                  <c:v>55878</c:v>
                </c:pt>
                <c:pt idx="55">
                  <c:v>60364</c:v>
                </c:pt>
                <c:pt idx="56">
                  <c:v>61069</c:v>
                </c:pt>
                <c:pt idx="57">
                  <c:v>67074</c:v>
                </c:pt>
                <c:pt idx="58">
                  <c:v>55250</c:v>
                </c:pt>
                <c:pt idx="59">
                  <c:v>26780</c:v>
                </c:pt>
                <c:pt idx="60">
                  <c:v>5346</c:v>
                </c:pt>
                <c:pt idx="61">
                  <c:v>4340</c:v>
                </c:pt>
                <c:pt idx="62">
                  <c:v>4140</c:v>
                </c:pt>
                <c:pt idx="63">
                  <c:v>3826</c:v>
                </c:pt>
                <c:pt idx="64">
                  <c:v>4367</c:v>
                </c:pt>
                <c:pt idx="65">
                  <c:v>23726</c:v>
                </c:pt>
                <c:pt idx="66">
                  <c:v>36589</c:v>
                </c:pt>
                <c:pt idx="67">
                  <c:v>37800</c:v>
                </c:pt>
                <c:pt idx="68">
                  <c:v>36540</c:v>
                </c:pt>
                <c:pt idx="69">
                  <c:v>41151</c:v>
                </c:pt>
                <c:pt idx="70">
                  <c:v>54459</c:v>
                </c:pt>
                <c:pt idx="71">
                  <c:v>62173</c:v>
                </c:pt>
                <c:pt idx="72">
                  <c:v>64406</c:v>
                </c:pt>
                <c:pt idx="73">
                  <c:v>61798</c:v>
                </c:pt>
                <c:pt idx="74">
                  <c:v>64032</c:v>
                </c:pt>
                <c:pt idx="75">
                  <c:v>69147</c:v>
                </c:pt>
                <c:pt idx="76">
                  <c:v>40199</c:v>
                </c:pt>
                <c:pt idx="77">
                  <c:v>41406</c:v>
                </c:pt>
                <c:pt idx="78">
                  <c:v>23603</c:v>
                </c:pt>
                <c:pt idx="79">
                  <c:v>22310</c:v>
                </c:pt>
                <c:pt idx="80">
                  <c:v>18143</c:v>
                </c:pt>
                <c:pt idx="81">
                  <c:v>18844</c:v>
                </c:pt>
                <c:pt idx="82">
                  <c:v>13447</c:v>
                </c:pt>
                <c:pt idx="83">
                  <c:v>10920</c:v>
                </c:pt>
                <c:pt idx="84">
                  <c:v>31514</c:v>
                </c:pt>
                <c:pt idx="85">
                  <c:v>30058</c:v>
                </c:pt>
                <c:pt idx="86">
                  <c:v>26135</c:v>
                </c:pt>
                <c:pt idx="87">
                  <c:v>10625</c:v>
                </c:pt>
                <c:pt idx="88">
                  <c:v>11642</c:v>
                </c:pt>
                <c:pt idx="89">
                  <c:v>8748</c:v>
                </c:pt>
                <c:pt idx="90">
                  <c:v>8453</c:v>
                </c:pt>
                <c:pt idx="91">
                  <c:v>8784</c:v>
                </c:pt>
                <c:pt idx="92">
                  <c:v>11568</c:v>
                </c:pt>
                <c:pt idx="93">
                  <c:v>12631</c:v>
                </c:pt>
                <c:pt idx="94">
                  <c:v>15348</c:v>
                </c:pt>
                <c:pt idx="95">
                  <c:v>11659</c:v>
                </c:pt>
                <c:pt idx="96">
                  <c:v>9991</c:v>
                </c:pt>
                <c:pt idx="97">
                  <c:v>7496</c:v>
                </c:pt>
                <c:pt idx="98">
                  <c:v>4629</c:v>
                </c:pt>
                <c:pt idx="99">
                  <c:v>3313</c:v>
                </c:pt>
                <c:pt idx="100">
                  <c:v>4178</c:v>
                </c:pt>
                <c:pt idx="101">
                  <c:v>29761</c:v>
                </c:pt>
                <c:pt idx="102">
                  <c:v>39292</c:v>
                </c:pt>
                <c:pt idx="103">
                  <c:v>26064</c:v>
                </c:pt>
                <c:pt idx="104">
                  <c:v>26092</c:v>
                </c:pt>
                <c:pt idx="105">
                  <c:v>21629</c:v>
                </c:pt>
                <c:pt idx="106">
                  <c:v>25804</c:v>
                </c:pt>
                <c:pt idx="107">
                  <c:v>2449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546805</c:v>
                </c:pt>
                <c:pt idx="1">
                  <c:v>541854</c:v>
                </c:pt>
                <c:pt idx="2">
                  <c:v>549084</c:v>
                </c:pt>
                <c:pt idx="3">
                  <c:v>543531</c:v>
                </c:pt>
                <c:pt idx="4">
                  <c:v>571784</c:v>
                </c:pt>
                <c:pt idx="5">
                  <c:v>568973</c:v>
                </c:pt>
                <c:pt idx="6">
                  <c:v>546207</c:v>
                </c:pt>
                <c:pt idx="7">
                  <c:v>571146</c:v>
                </c:pt>
                <c:pt idx="8">
                  <c:v>587385</c:v>
                </c:pt>
                <c:pt idx="9">
                  <c:v>570020</c:v>
                </c:pt>
                <c:pt idx="10">
                  <c:v>526022</c:v>
                </c:pt>
                <c:pt idx="11">
                  <c:v>510062</c:v>
                </c:pt>
                <c:pt idx="12">
                  <c:v>494761</c:v>
                </c:pt>
                <c:pt idx="13">
                  <c:v>535542</c:v>
                </c:pt>
                <c:pt idx="14">
                  <c:v>484335</c:v>
                </c:pt>
                <c:pt idx="15">
                  <c:v>573213</c:v>
                </c:pt>
                <c:pt idx="16">
                  <c:v>620914</c:v>
                </c:pt>
                <c:pt idx="17">
                  <c:v>690774</c:v>
                </c:pt>
                <c:pt idx="18">
                  <c:v>655346</c:v>
                </c:pt>
                <c:pt idx="19">
                  <c:v>647336</c:v>
                </c:pt>
                <c:pt idx="20">
                  <c:v>668711</c:v>
                </c:pt>
                <c:pt idx="21">
                  <c:v>709802</c:v>
                </c:pt>
                <c:pt idx="22">
                  <c:v>740149</c:v>
                </c:pt>
                <c:pt idx="23">
                  <c:v>717687</c:v>
                </c:pt>
                <c:pt idx="24">
                  <c:v>697752</c:v>
                </c:pt>
                <c:pt idx="25">
                  <c:v>711286</c:v>
                </c:pt>
                <c:pt idx="26">
                  <c:v>739186</c:v>
                </c:pt>
                <c:pt idx="27">
                  <c:v>715914</c:v>
                </c:pt>
                <c:pt idx="28">
                  <c:v>696391</c:v>
                </c:pt>
                <c:pt idx="29">
                  <c:v>700690</c:v>
                </c:pt>
                <c:pt idx="30">
                  <c:v>767697</c:v>
                </c:pt>
                <c:pt idx="31">
                  <c:v>726044</c:v>
                </c:pt>
                <c:pt idx="32">
                  <c:v>720478</c:v>
                </c:pt>
                <c:pt idx="33">
                  <c:v>697320</c:v>
                </c:pt>
                <c:pt idx="34">
                  <c:v>706714</c:v>
                </c:pt>
                <c:pt idx="35">
                  <c:v>694548</c:v>
                </c:pt>
                <c:pt idx="36">
                  <c:v>658075</c:v>
                </c:pt>
                <c:pt idx="37">
                  <c:v>651952</c:v>
                </c:pt>
                <c:pt idx="38">
                  <c:v>644093</c:v>
                </c:pt>
                <c:pt idx="39">
                  <c:v>670673</c:v>
                </c:pt>
                <c:pt idx="40">
                  <c:v>634782</c:v>
                </c:pt>
                <c:pt idx="41">
                  <c:v>625652</c:v>
                </c:pt>
                <c:pt idx="42">
                  <c:v>621324</c:v>
                </c:pt>
                <c:pt idx="43">
                  <c:v>644009</c:v>
                </c:pt>
                <c:pt idx="44">
                  <c:v>655810</c:v>
                </c:pt>
                <c:pt idx="45">
                  <c:v>618238</c:v>
                </c:pt>
                <c:pt idx="46">
                  <c:v>584979</c:v>
                </c:pt>
                <c:pt idx="47">
                  <c:v>641571</c:v>
                </c:pt>
                <c:pt idx="48">
                  <c:v>674566</c:v>
                </c:pt>
                <c:pt idx="49">
                  <c:v>650247</c:v>
                </c:pt>
                <c:pt idx="50">
                  <c:v>727682</c:v>
                </c:pt>
                <c:pt idx="51">
                  <c:v>581079</c:v>
                </c:pt>
                <c:pt idx="52">
                  <c:v>627486</c:v>
                </c:pt>
                <c:pt idx="53">
                  <c:v>564306</c:v>
                </c:pt>
                <c:pt idx="54">
                  <c:v>540285</c:v>
                </c:pt>
                <c:pt idx="55">
                  <c:v>574037</c:v>
                </c:pt>
                <c:pt idx="56">
                  <c:v>602292</c:v>
                </c:pt>
                <c:pt idx="57">
                  <c:v>589394</c:v>
                </c:pt>
                <c:pt idx="58">
                  <c:v>583968</c:v>
                </c:pt>
                <c:pt idx="59">
                  <c:v>654908</c:v>
                </c:pt>
                <c:pt idx="60">
                  <c:v>692294</c:v>
                </c:pt>
                <c:pt idx="61">
                  <c:v>681667</c:v>
                </c:pt>
                <c:pt idx="62">
                  <c:v>663618</c:v>
                </c:pt>
                <c:pt idx="63">
                  <c:v>652613</c:v>
                </c:pt>
                <c:pt idx="64">
                  <c:v>674257</c:v>
                </c:pt>
                <c:pt idx="65">
                  <c:v>687202</c:v>
                </c:pt>
                <c:pt idx="66">
                  <c:v>630702</c:v>
                </c:pt>
                <c:pt idx="67">
                  <c:v>600564</c:v>
                </c:pt>
                <c:pt idx="68">
                  <c:v>545251</c:v>
                </c:pt>
                <c:pt idx="69">
                  <c:v>592129</c:v>
                </c:pt>
                <c:pt idx="70">
                  <c:v>628375</c:v>
                </c:pt>
                <c:pt idx="71">
                  <c:v>617590</c:v>
                </c:pt>
                <c:pt idx="72">
                  <c:v>657381</c:v>
                </c:pt>
                <c:pt idx="73">
                  <c:v>654651</c:v>
                </c:pt>
                <c:pt idx="74">
                  <c:v>726893</c:v>
                </c:pt>
                <c:pt idx="75">
                  <c:v>671089</c:v>
                </c:pt>
                <c:pt idx="76">
                  <c:v>700349</c:v>
                </c:pt>
                <c:pt idx="77">
                  <c:v>689616</c:v>
                </c:pt>
                <c:pt idx="78">
                  <c:v>764944</c:v>
                </c:pt>
                <c:pt idx="79">
                  <c:v>682782</c:v>
                </c:pt>
                <c:pt idx="80">
                  <c:v>682243</c:v>
                </c:pt>
                <c:pt idx="81">
                  <c:v>666072</c:v>
                </c:pt>
                <c:pt idx="82">
                  <c:v>716437</c:v>
                </c:pt>
                <c:pt idx="83">
                  <c:v>713634</c:v>
                </c:pt>
                <c:pt idx="84">
                  <c:v>703557</c:v>
                </c:pt>
                <c:pt idx="85">
                  <c:v>687201</c:v>
                </c:pt>
                <c:pt idx="86">
                  <c:v>691812</c:v>
                </c:pt>
                <c:pt idx="87">
                  <c:v>718915</c:v>
                </c:pt>
                <c:pt idx="88">
                  <c:v>662260</c:v>
                </c:pt>
                <c:pt idx="89">
                  <c:v>662663</c:v>
                </c:pt>
                <c:pt idx="90">
                  <c:v>652903</c:v>
                </c:pt>
                <c:pt idx="91">
                  <c:v>731317</c:v>
                </c:pt>
                <c:pt idx="92">
                  <c:v>643492</c:v>
                </c:pt>
                <c:pt idx="93">
                  <c:v>653935</c:v>
                </c:pt>
                <c:pt idx="94">
                  <c:v>634519</c:v>
                </c:pt>
                <c:pt idx="95">
                  <c:v>643073</c:v>
                </c:pt>
                <c:pt idx="96">
                  <c:v>661996</c:v>
                </c:pt>
                <c:pt idx="97">
                  <c:v>618783</c:v>
                </c:pt>
                <c:pt idx="98">
                  <c:v>624971</c:v>
                </c:pt>
                <c:pt idx="99">
                  <c:v>581389</c:v>
                </c:pt>
                <c:pt idx="100">
                  <c:v>647002</c:v>
                </c:pt>
                <c:pt idx="101">
                  <c:v>617394</c:v>
                </c:pt>
                <c:pt idx="102">
                  <c:v>633674</c:v>
                </c:pt>
                <c:pt idx="103">
                  <c:v>570149</c:v>
                </c:pt>
                <c:pt idx="104">
                  <c:v>573440</c:v>
                </c:pt>
                <c:pt idx="105">
                  <c:v>516165</c:v>
                </c:pt>
                <c:pt idx="106">
                  <c:v>558761</c:v>
                </c:pt>
                <c:pt idx="107">
                  <c:v>53824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554398</c:v>
                </c:pt>
                <c:pt idx="1">
                  <c:v>551806</c:v>
                </c:pt>
                <c:pt idx="2">
                  <c:v>556466</c:v>
                </c:pt>
                <c:pt idx="3">
                  <c:v>546770</c:v>
                </c:pt>
                <c:pt idx="4">
                  <c:v>574606</c:v>
                </c:pt>
                <c:pt idx="5">
                  <c:v>570434</c:v>
                </c:pt>
                <c:pt idx="6">
                  <c:v>547610</c:v>
                </c:pt>
                <c:pt idx="7">
                  <c:v>572636</c:v>
                </c:pt>
                <c:pt idx="8">
                  <c:v>589081</c:v>
                </c:pt>
                <c:pt idx="9">
                  <c:v>571401</c:v>
                </c:pt>
                <c:pt idx="10">
                  <c:v>526845</c:v>
                </c:pt>
                <c:pt idx="11">
                  <c:v>513602</c:v>
                </c:pt>
                <c:pt idx="12">
                  <c:v>497716</c:v>
                </c:pt>
                <c:pt idx="13">
                  <c:v>536124</c:v>
                </c:pt>
                <c:pt idx="14">
                  <c:v>499440</c:v>
                </c:pt>
                <c:pt idx="15">
                  <c:v>587285</c:v>
                </c:pt>
                <c:pt idx="16">
                  <c:v>627450</c:v>
                </c:pt>
                <c:pt idx="17">
                  <c:v>696041</c:v>
                </c:pt>
                <c:pt idx="18">
                  <c:v>659413</c:v>
                </c:pt>
                <c:pt idx="19">
                  <c:v>650155</c:v>
                </c:pt>
                <c:pt idx="20">
                  <c:v>671423</c:v>
                </c:pt>
                <c:pt idx="21">
                  <c:v>720700</c:v>
                </c:pt>
                <c:pt idx="22">
                  <c:v>742606</c:v>
                </c:pt>
                <c:pt idx="23">
                  <c:v>719555</c:v>
                </c:pt>
                <c:pt idx="24">
                  <c:v>701215</c:v>
                </c:pt>
                <c:pt idx="25">
                  <c:v>713199</c:v>
                </c:pt>
                <c:pt idx="26">
                  <c:v>741025</c:v>
                </c:pt>
                <c:pt idx="27">
                  <c:v>718508</c:v>
                </c:pt>
                <c:pt idx="28">
                  <c:v>720199</c:v>
                </c:pt>
                <c:pt idx="29">
                  <c:v>716749</c:v>
                </c:pt>
                <c:pt idx="30">
                  <c:v>775264</c:v>
                </c:pt>
                <c:pt idx="31">
                  <c:v>731682</c:v>
                </c:pt>
                <c:pt idx="32">
                  <c:v>727926</c:v>
                </c:pt>
                <c:pt idx="33">
                  <c:v>704191</c:v>
                </c:pt>
                <c:pt idx="34">
                  <c:v>712888</c:v>
                </c:pt>
                <c:pt idx="35">
                  <c:v>701227</c:v>
                </c:pt>
                <c:pt idx="36">
                  <c:v>673295</c:v>
                </c:pt>
                <c:pt idx="37">
                  <c:v>672558</c:v>
                </c:pt>
                <c:pt idx="38">
                  <c:v>667082</c:v>
                </c:pt>
                <c:pt idx="39">
                  <c:v>691454</c:v>
                </c:pt>
                <c:pt idx="40">
                  <c:v>651246</c:v>
                </c:pt>
                <c:pt idx="41">
                  <c:v>640727</c:v>
                </c:pt>
                <c:pt idx="42">
                  <c:v>633996</c:v>
                </c:pt>
                <c:pt idx="43">
                  <c:v>654776</c:v>
                </c:pt>
                <c:pt idx="44">
                  <c:v>665198</c:v>
                </c:pt>
                <c:pt idx="45">
                  <c:v>626473</c:v>
                </c:pt>
                <c:pt idx="46">
                  <c:v>592149</c:v>
                </c:pt>
                <c:pt idx="47">
                  <c:v>645225</c:v>
                </c:pt>
                <c:pt idx="48">
                  <c:v>679607</c:v>
                </c:pt>
                <c:pt idx="49">
                  <c:v>658656</c:v>
                </c:pt>
                <c:pt idx="50">
                  <c:v>740393</c:v>
                </c:pt>
                <c:pt idx="51">
                  <c:v>588837</c:v>
                </c:pt>
                <c:pt idx="52">
                  <c:v>655189</c:v>
                </c:pt>
                <c:pt idx="53">
                  <c:v>620444</c:v>
                </c:pt>
                <c:pt idx="54">
                  <c:v>596163</c:v>
                </c:pt>
                <c:pt idx="55">
                  <c:v>634401</c:v>
                </c:pt>
                <c:pt idx="56">
                  <c:v>663361</c:v>
                </c:pt>
                <c:pt idx="57">
                  <c:v>656468</c:v>
                </c:pt>
                <c:pt idx="58">
                  <c:v>639218</c:v>
                </c:pt>
                <c:pt idx="59">
                  <c:v>681688</c:v>
                </c:pt>
                <c:pt idx="60">
                  <c:v>697640</c:v>
                </c:pt>
                <c:pt idx="61">
                  <c:v>686007</c:v>
                </c:pt>
                <c:pt idx="62">
                  <c:v>667758</c:v>
                </c:pt>
                <c:pt idx="63">
                  <c:v>656439</c:v>
                </c:pt>
                <c:pt idx="64">
                  <c:v>678624</c:v>
                </c:pt>
                <c:pt idx="65">
                  <c:v>710928</c:v>
                </c:pt>
                <c:pt idx="66">
                  <c:v>667291</c:v>
                </c:pt>
                <c:pt idx="67">
                  <c:v>638364</c:v>
                </c:pt>
                <c:pt idx="68">
                  <c:v>581791</c:v>
                </c:pt>
                <c:pt idx="69">
                  <c:v>633280</c:v>
                </c:pt>
                <c:pt idx="70">
                  <c:v>682834</c:v>
                </c:pt>
                <c:pt idx="71">
                  <c:v>679763</c:v>
                </c:pt>
                <c:pt idx="72">
                  <c:v>721787</c:v>
                </c:pt>
                <c:pt idx="73">
                  <c:v>716449</c:v>
                </c:pt>
                <c:pt idx="74">
                  <c:v>790925</c:v>
                </c:pt>
                <c:pt idx="75">
                  <c:v>740236</c:v>
                </c:pt>
                <c:pt idx="76">
                  <c:v>740548</c:v>
                </c:pt>
                <c:pt idx="77">
                  <c:v>731022</c:v>
                </c:pt>
                <c:pt idx="78">
                  <c:v>788547</c:v>
                </c:pt>
                <c:pt idx="79">
                  <c:v>705092</c:v>
                </c:pt>
                <c:pt idx="80">
                  <c:v>700386</c:v>
                </c:pt>
                <c:pt idx="81">
                  <c:v>684916</c:v>
                </c:pt>
                <c:pt idx="82">
                  <c:v>729884</c:v>
                </c:pt>
                <c:pt idx="83">
                  <c:v>724554</c:v>
                </c:pt>
                <c:pt idx="84">
                  <c:v>735071</c:v>
                </c:pt>
                <c:pt idx="85">
                  <c:v>717259</c:v>
                </c:pt>
                <c:pt idx="86">
                  <c:v>717947</c:v>
                </c:pt>
                <c:pt idx="87">
                  <c:v>729540</c:v>
                </c:pt>
                <c:pt idx="88">
                  <c:v>673902</c:v>
                </c:pt>
                <c:pt idx="89">
                  <c:v>671411</c:v>
                </c:pt>
                <c:pt idx="90">
                  <c:v>661356</c:v>
                </c:pt>
                <c:pt idx="91">
                  <c:v>740101</c:v>
                </c:pt>
                <c:pt idx="92">
                  <c:v>655060</c:v>
                </c:pt>
                <c:pt idx="93">
                  <c:v>666566</c:v>
                </c:pt>
                <c:pt idx="94">
                  <c:v>649867</c:v>
                </c:pt>
                <c:pt idx="95">
                  <c:v>654732</c:v>
                </c:pt>
                <c:pt idx="96">
                  <c:v>671987</c:v>
                </c:pt>
                <c:pt idx="97">
                  <c:v>626279</c:v>
                </c:pt>
                <c:pt idx="98">
                  <c:v>629600</c:v>
                </c:pt>
                <c:pt idx="99">
                  <c:v>584702</c:v>
                </c:pt>
                <c:pt idx="100">
                  <c:v>651180</c:v>
                </c:pt>
                <c:pt idx="101">
                  <c:v>647155</c:v>
                </c:pt>
                <c:pt idx="102">
                  <c:v>672966</c:v>
                </c:pt>
                <c:pt idx="103">
                  <c:v>596213</c:v>
                </c:pt>
                <c:pt idx="104">
                  <c:v>599532</c:v>
                </c:pt>
                <c:pt idx="105">
                  <c:v>537794</c:v>
                </c:pt>
                <c:pt idx="106">
                  <c:v>584565</c:v>
                </c:pt>
                <c:pt idx="107">
                  <c:v>56274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543307</c:v>
                </c:pt>
                <c:pt idx="1">
                  <c:v>549412</c:v>
                </c:pt>
                <c:pt idx="2">
                  <c:v>553242</c:v>
                </c:pt>
                <c:pt idx="3">
                  <c:v>552461</c:v>
                </c:pt>
                <c:pt idx="4">
                  <c:v>555085</c:v>
                </c:pt>
                <c:pt idx="5">
                  <c:v>561484</c:v>
                </c:pt>
                <c:pt idx="6">
                  <c:v>565410</c:v>
                </c:pt>
                <c:pt idx="7">
                  <c:v>562436</c:v>
                </c:pt>
                <c:pt idx="8">
                  <c:v>558529</c:v>
                </c:pt>
                <c:pt idx="9">
                  <c:v>548934</c:v>
                </c:pt>
                <c:pt idx="10">
                  <c:v>544574</c:v>
                </c:pt>
                <c:pt idx="11">
                  <c:v>536705</c:v>
                </c:pt>
                <c:pt idx="12">
                  <c:v>526431</c:v>
                </c:pt>
                <c:pt idx="13">
                  <c:v>510482</c:v>
                </c:pt>
                <c:pt idx="14">
                  <c:v>626264</c:v>
                </c:pt>
                <c:pt idx="15">
                  <c:v>632182</c:v>
                </c:pt>
                <c:pt idx="16">
                  <c:v>627066</c:v>
                </c:pt>
                <c:pt idx="17">
                  <c:v>633925</c:v>
                </c:pt>
                <c:pt idx="18">
                  <c:v>638841</c:v>
                </c:pt>
                <c:pt idx="19">
                  <c:v>670447</c:v>
                </c:pt>
                <c:pt idx="20">
                  <c:v>687503</c:v>
                </c:pt>
                <c:pt idx="21">
                  <c:v>696094</c:v>
                </c:pt>
                <c:pt idx="22">
                  <c:v>697958</c:v>
                </c:pt>
                <c:pt idx="23">
                  <c:v>705621</c:v>
                </c:pt>
                <c:pt idx="24">
                  <c:v>708432</c:v>
                </c:pt>
                <c:pt idx="25">
                  <c:v>708003</c:v>
                </c:pt>
                <c:pt idx="26">
                  <c:v>722072</c:v>
                </c:pt>
                <c:pt idx="27">
                  <c:v>747388</c:v>
                </c:pt>
                <c:pt idx="28">
                  <c:v>743554</c:v>
                </c:pt>
                <c:pt idx="29">
                  <c:v>740739</c:v>
                </c:pt>
                <c:pt idx="30">
                  <c:v>733491</c:v>
                </c:pt>
                <c:pt idx="31">
                  <c:v>726354</c:v>
                </c:pt>
                <c:pt idx="32">
                  <c:v>724022</c:v>
                </c:pt>
                <c:pt idx="33">
                  <c:v>718136</c:v>
                </c:pt>
                <c:pt idx="34">
                  <c:v>712562</c:v>
                </c:pt>
                <c:pt idx="35">
                  <c:v>698988</c:v>
                </c:pt>
                <c:pt idx="36">
                  <c:v>693897</c:v>
                </c:pt>
                <c:pt idx="37">
                  <c:v>684527</c:v>
                </c:pt>
                <c:pt idx="38">
                  <c:v>676751</c:v>
                </c:pt>
                <c:pt idx="39">
                  <c:v>666895</c:v>
                </c:pt>
                <c:pt idx="40">
                  <c:v>661100</c:v>
                </c:pt>
                <c:pt idx="41">
                  <c:v>660021</c:v>
                </c:pt>
                <c:pt idx="42">
                  <c:v>654272</c:v>
                </c:pt>
                <c:pt idx="43">
                  <c:v>644929</c:v>
                </c:pt>
                <c:pt idx="44">
                  <c:v>639190</c:v>
                </c:pt>
                <c:pt idx="45">
                  <c:v>642724</c:v>
                </c:pt>
                <c:pt idx="46">
                  <c:v>645018</c:v>
                </c:pt>
                <c:pt idx="47">
                  <c:v>658587</c:v>
                </c:pt>
                <c:pt idx="48">
                  <c:v>650422</c:v>
                </c:pt>
                <c:pt idx="49">
                  <c:v>649682</c:v>
                </c:pt>
                <c:pt idx="50">
                  <c:v>653527</c:v>
                </c:pt>
                <c:pt idx="51">
                  <c:v>649743</c:v>
                </c:pt>
                <c:pt idx="52">
                  <c:v>648902</c:v>
                </c:pt>
                <c:pt idx="53">
                  <c:v>654294</c:v>
                </c:pt>
                <c:pt idx="54">
                  <c:v>648995</c:v>
                </c:pt>
                <c:pt idx="55">
                  <c:v>637749</c:v>
                </c:pt>
                <c:pt idx="56">
                  <c:v>651448</c:v>
                </c:pt>
                <c:pt idx="57">
                  <c:v>659141</c:v>
                </c:pt>
                <c:pt idx="58">
                  <c:v>667581</c:v>
                </c:pt>
                <c:pt idx="59">
                  <c:v>676907</c:v>
                </c:pt>
                <c:pt idx="60">
                  <c:v>679775</c:v>
                </c:pt>
                <c:pt idx="61">
                  <c:v>681833</c:v>
                </c:pt>
                <c:pt idx="62">
                  <c:v>688085</c:v>
                </c:pt>
                <c:pt idx="63">
                  <c:v>685556</c:v>
                </c:pt>
                <c:pt idx="64">
                  <c:v>674037</c:v>
                </c:pt>
                <c:pt idx="65">
                  <c:v>659306</c:v>
                </c:pt>
                <c:pt idx="66">
                  <c:v>651605</c:v>
                </c:pt>
                <c:pt idx="67">
                  <c:v>652679</c:v>
                </c:pt>
                <c:pt idx="68">
                  <c:v>655174</c:v>
                </c:pt>
                <c:pt idx="69">
                  <c:v>660025</c:v>
                </c:pt>
                <c:pt idx="70">
                  <c:v>660694</c:v>
                </c:pt>
                <c:pt idx="71">
                  <c:v>675383</c:v>
                </c:pt>
                <c:pt idx="72">
                  <c:v>687867</c:v>
                </c:pt>
                <c:pt idx="73">
                  <c:v>708178</c:v>
                </c:pt>
                <c:pt idx="74">
                  <c:v>729986</c:v>
                </c:pt>
                <c:pt idx="75">
                  <c:v>743238</c:v>
                </c:pt>
                <c:pt idx="76">
                  <c:v>744184</c:v>
                </c:pt>
                <c:pt idx="77">
                  <c:v>738750</c:v>
                </c:pt>
                <c:pt idx="78">
                  <c:v>735583</c:v>
                </c:pt>
                <c:pt idx="79">
                  <c:v>728561</c:v>
                </c:pt>
                <c:pt idx="80">
                  <c:v>726586</c:v>
                </c:pt>
                <c:pt idx="81">
                  <c:v>725615</c:v>
                </c:pt>
                <c:pt idx="82">
                  <c:v>723814</c:v>
                </c:pt>
                <c:pt idx="83">
                  <c:v>714930</c:v>
                </c:pt>
                <c:pt idx="84">
                  <c:v>717956</c:v>
                </c:pt>
                <c:pt idx="85">
                  <c:v>714767</c:v>
                </c:pt>
                <c:pt idx="86">
                  <c:v>713043</c:v>
                </c:pt>
                <c:pt idx="87">
                  <c:v>704410</c:v>
                </c:pt>
                <c:pt idx="88">
                  <c:v>706475</c:v>
                </c:pt>
                <c:pt idx="89">
                  <c:v>696450</c:v>
                </c:pt>
                <c:pt idx="90">
                  <c:v>690082</c:v>
                </c:pt>
                <c:pt idx="91">
                  <c:v>681575</c:v>
                </c:pt>
                <c:pt idx="92">
                  <c:v>672273</c:v>
                </c:pt>
                <c:pt idx="93">
                  <c:v>671976</c:v>
                </c:pt>
                <c:pt idx="94">
                  <c:v>666263</c:v>
                </c:pt>
                <c:pt idx="95">
                  <c:v>662172</c:v>
                </c:pt>
                <c:pt idx="96">
                  <c:v>673580</c:v>
                </c:pt>
                <c:pt idx="97">
                  <c:v>642285</c:v>
                </c:pt>
                <c:pt idx="98">
                  <c:v>639003</c:v>
                </c:pt>
                <c:pt idx="99">
                  <c:v>641180</c:v>
                </c:pt>
                <c:pt idx="100">
                  <c:v>634768</c:v>
                </c:pt>
                <c:pt idx="101">
                  <c:v>629976</c:v>
                </c:pt>
                <c:pt idx="102">
                  <c:v>623586</c:v>
                </c:pt>
                <c:pt idx="103">
                  <c:v>614045</c:v>
                </c:pt>
                <c:pt idx="104">
                  <c:v>609436</c:v>
                </c:pt>
                <c:pt idx="105">
                  <c:v>582442</c:v>
                </c:pt>
                <c:pt idx="106">
                  <c:v>608376</c:v>
                </c:pt>
                <c:pt idx="107">
                  <c:v>59254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02</c:v>
                </c:pt>
                <c:pt idx="2">
                  <c:v>0.01</c:v>
                </c:pt>
                <c:pt idx="3">
                  <c:v>0.01</c:v>
                </c:pt>
                <c:pt idx="4">
                  <c:v>0</c:v>
                </c:pt>
                <c:pt idx="5">
                  <c:v>0</c:v>
                </c:pt>
                <c:pt idx="6">
                  <c:v>0</c:v>
                </c:pt>
                <c:pt idx="7">
                  <c:v>0</c:v>
                </c:pt>
                <c:pt idx="8">
                  <c:v>0</c:v>
                </c:pt>
                <c:pt idx="9">
                  <c:v>0</c:v>
                </c:pt>
                <c:pt idx="10">
                  <c:v>0</c:v>
                </c:pt>
                <c:pt idx="11">
                  <c:v>0</c:v>
                </c:pt>
                <c:pt idx="12">
                  <c:v>0</c:v>
                </c:pt>
                <c:pt idx="13">
                  <c:v>0</c:v>
                </c:pt>
                <c:pt idx="14">
                  <c:v>0.02</c:v>
                </c:pt>
                <c:pt idx="15">
                  <c:v>0.02</c:v>
                </c:pt>
                <c:pt idx="16">
                  <c:v>0.01</c:v>
                </c:pt>
                <c:pt idx="17">
                  <c:v>0.01</c:v>
                </c:pt>
                <c:pt idx="18">
                  <c:v>0.01</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1</c:v>
                </c:pt>
                <c:pt idx="38">
                  <c:v>0.02</c:v>
                </c:pt>
                <c:pt idx="39">
                  <c:v>0.01</c:v>
                </c:pt>
                <c:pt idx="40">
                  <c:v>0.01</c:v>
                </c:pt>
                <c:pt idx="41">
                  <c:v>0.01</c:v>
                </c:pt>
                <c:pt idx="42">
                  <c:v>0.01</c:v>
                </c:pt>
                <c:pt idx="43">
                  <c:v>0.01</c:v>
                </c:pt>
                <c:pt idx="44">
                  <c:v>0.01</c:v>
                </c:pt>
                <c:pt idx="45">
                  <c:v>0.01</c:v>
                </c:pt>
                <c:pt idx="46">
                  <c:v>0.01</c:v>
                </c:pt>
                <c:pt idx="47">
                  <c:v>0</c:v>
                </c:pt>
                <c:pt idx="48">
                  <c:v>0</c:v>
                </c:pt>
                <c:pt idx="49">
                  <c:v>0.01</c:v>
                </c:pt>
                <c:pt idx="50">
                  <c:v>0.01</c:v>
                </c:pt>
                <c:pt idx="51">
                  <c:v>0.01</c:v>
                </c:pt>
                <c:pt idx="52">
                  <c:v>0.02</c:v>
                </c:pt>
                <c:pt idx="53">
                  <c:v>0.04</c:v>
                </c:pt>
                <c:pt idx="54">
                  <c:v>0.04</c:v>
                </c:pt>
                <c:pt idx="55">
                  <c:v>0.04</c:v>
                </c:pt>
                <c:pt idx="56">
                  <c:v>0.04</c:v>
                </c:pt>
                <c:pt idx="57">
                  <c:v>0.05</c:v>
                </c:pt>
                <c:pt idx="58">
                  <c:v>0.05</c:v>
                </c:pt>
                <c:pt idx="59">
                  <c:v>0.03</c:v>
                </c:pt>
                <c:pt idx="60">
                  <c:v>0.01</c:v>
                </c:pt>
                <c:pt idx="61">
                  <c:v>0.01</c:v>
                </c:pt>
                <c:pt idx="62">
                  <c:v>0</c:v>
                </c:pt>
                <c:pt idx="63">
                  <c:v>0.01</c:v>
                </c:pt>
                <c:pt idx="64">
                  <c:v>0.01</c:v>
                </c:pt>
                <c:pt idx="65">
                  <c:v>0.1</c:v>
                </c:pt>
                <c:pt idx="66">
                  <c:v>0.18</c:v>
                </c:pt>
                <c:pt idx="67">
                  <c:v>0.18</c:v>
                </c:pt>
                <c:pt idx="68">
                  <c:v>0.19</c:v>
                </c:pt>
                <c:pt idx="69">
                  <c:v>0.19</c:v>
                </c:pt>
                <c:pt idx="70">
                  <c:v>0.19</c:v>
                </c:pt>
                <c:pt idx="71">
                  <c:v>0.2</c:v>
                </c:pt>
                <c:pt idx="72">
                  <c:v>0.2</c:v>
                </c:pt>
                <c:pt idx="73">
                  <c:v>0.2</c:v>
                </c:pt>
                <c:pt idx="74">
                  <c:v>0.2</c:v>
                </c:pt>
                <c:pt idx="75">
                  <c:v>0.2</c:v>
                </c:pt>
                <c:pt idx="76">
                  <c:v>0.17</c:v>
                </c:pt>
                <c:pt idx="77">
                  <c:v>0.02</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3</c:v>
                </c:pt>
                <c:pt idx="102">
                  <c:v>0.04</c:v>
                </c:pt>
                <c:pt idx="103">
                  <c:v>0.03</c:v>
                </c:pt>
                <c:pt idx="104">
                  <c:v>0.03</c:v>
                </c:pt>
                <c:pt idx="105">
                  <c:v>0.03</c:v>
                </c:pt>
                <c:pt idx="106">
                  <c:v>0.03</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293</c:v>
                </c:pt>
                <c:pt idx="1">
                  <c:v>84</c:v>
                </c:pt>
                <c:pt idx="2">
                  <c:v>125</c:v>
                </c:pt>
                <c:pt idx="3">
                  <c:v>134</c:v>
                </c:pt>
                <c:pt idx="4">
                  <c:v>51</c:v>
                </c:pt>
                <c:pt idx="5">
                  <c:v>670</c:v>
                </c:pt>
                <c:pt idx="6">
                  <c:v>606</c:v>
                </c:pt>
                <c:pt idx="7">
                  <c:v>562</c:v>
                </c:pt>
                <c:pt idx="8">
                  <c:v>245</c:v>
                </c:pt>
                <c:pt idx="9">
                  <c:v>402</c:v>
                </c:pt>
                <c:pt idx="10">
                  <c:v>552</c:v>
                </c:pt>
                <c:pt idx="11">
                  <c:v>663</c:v>
                </c:pt>
                <c:pt idx="12">
                  <c:v>885</c:v>
                </c:pt>
                <c:pt idx="13">
                  <c:v>831</c:v>
                </c:pt>
                <c:pt idx="14">
                  <c:v>367</c:v>
                </c:pt>
                <c:pt idx="15">
                  <c:v>764</c:v>
                </c:pt>
                <c:pt idx="16">
                  <c:v>760</c:v>
                </c:pt>
                <c:pt idx="17">
                  <c:v>644</c:v>
                </c:pt>
                <c:pt idx="18">
                  <c:v>551</c:v>
                </c:pt>
                <c:pt idx="19">
                  <c:v>535</c:v>
                </c:pt>
                <c:pt idx="20">
                  <c:v>750</c:v>
                </c:pt>
                <c:pt idx="21">
                  <c:v>371</c:v>
                </c:pt>
                <c:pt idx="22">
                  <c:v>825</c:v>
                </c:pt>
                <c:pt idx="23">
                  <c:v>609</c:v>
                </c:pt>
                <c:pt idx="24">
                  <c:v>390</c:v>
                </c:pt>
                <c:pt idx="25">
                  <c:v>496</c:v>
                </c:pt>
                <c:pt idx="26">
                  <c:v>764</c:v>
                </c:pt>
                <c:pt idx="27">
                  <c:v>553</c:v>
                </c:pt>
                <c:pt idx="28">
                  <c:v>639</c:v>
                </c:pt>
                <c:pt idx="29">
                  <c:v>625</c:v>
                </c:pt>
                <c:pt idx="30">
                  <c:v>603</c:v>
                </c:pt>
                <c:pt idx="31">
                  <c:v>417</c:v>
                </c:pt>
                <c:pt idx="32">
                  <c:v>611</c:v>
                </c:pt>
                <c:pt idx="33">
                  <c:v>481</c:v>
                </c:pt>
                <c:pt idx="34">
                  <c:v>434</c:v>
                </c:pt>
                <c:pt idx="35">
                  <c:v>553</c:v>
                </c:pt>
                <c:pt idx="36">
                  <c:v>717</c:v>
                </c:pt>
                <c:pt idx="37">
                  <c:v>648</c:v>
                </c:pt>
                <c:pt idx="38">
                  <c:v>552</c:v>
                </c:pt>
                <c:pt idx="39">
                  <c:v>861</c:v>
                </c:pt>
                <c:pt idx="40">
                  <c:v>6077</c:v>
                </c:pt>
                <c:pt idx="41">
                  <c:v>10270</c:v>
                </c:pt>
                <c:pt idx="42">
                  <c:v>11807</c:v>
                </c:pt>
                <c:pt idx="43">
                  <c:v>12785</c:v>
                </c:pt>
                <c:pt idx="44">
                  <c:v>16244</c:v>
                </c:pt>
                <c:pt idx="45">
                  <c:v>19851</c:v>
                </c:pt>
                <c:pt idx="46">
                  <c:v>37584</c:v>
                </c:pt>
                <c:pt idx="47">
                  <c:v>35732</c:v>
                </c:pt>
                <c:pt idx="48">
                  <c:v>55479</c:v>
                </c:pt>
                <c:pt idx="49">
                  <c:v>92136</c:v>
                </c:pt>
                <c:pt idx="50">
                  <c:v>224941</c:v>
                </c:pt>
                <c:pt idx="51">
                  <c:v>443320</c:v>
                </c:pt>
                <c:pt idx="52">
                  <c:v>63013</c:v>
                </c:pt>
                <c:pt idx="53">
                  <c:v>10685</c:v>
                </c:pt>
                <c:pt idx="54">
                  <c:v>6231</c:v>
                </c:pt>
                <c:pt idx="55">
                  <c:v>4607</c:v>
                </c:pt>
                <c:pt idx="56">
                  <c:v>2014</c:v>
                </c:pt>
                <c:pt idx="57">
                  <c:v>1555</c:v>
                </c:pt>
                <c:pt idx="58">
                  <c:v>780</c:v>
                </c:pt>
                <c:pt idx="59">
                  <c:v>644</c:v>
                </c:pt>
                <c:pt idx="60">
                  <c:v>533</c:v>
                </c:pt>
                <c:pt idx="61">
                  <c:v>203</c:v>
                </c:pt>
                <c:pt idx="62">
                  <c:v>172</c:v>
                </c:pt>
                <c:pt idx="63">
                  <c:v>381</c:v>
                </c:pt>
                <c:pt idx="64">
                  <c:v>94</c:v>
                </c:pt>
                <c:pt idx="65">
                  <c:v>62</c:v>
                </c:pt>
                <c:pt idx="66">
                  <c:v>65</c:v>
                </c:pt>
                <c:pt idx="67">
                  <c:v>53</c:v>
                </c:pt>
                <c:pt idx="68">
                  <c:v>55</c:v>
                </c:pt>
                <c:pt idx="69">
                  <c:v>13</c:v>
                </c:pt>
                <c:pt idx="70">
                  <c:v>44</c:v>
                </c:pt>
                <c:pt idx="71">
                  <c:v>59</c:v>
                </c:pt>
                <c:pt idx="72">
                  <c:v>74</c:v>
                </c:pt>
                <c:pt idx="73">
                  <c:v>0</c:v>
                </c:pt>
                <c:pt idx="74">
                  <c:v>0</c:v>
                </c:pt>
                <c:pt idx="75">
                  <c:v>50</c:v>
                </c:pt>
                <c:pt idx="76">
                  <c:v>11</c:v>
                </c:pt>
                <c:pt idx="77">
                  <c:v>16</c:v>
                </c:pt>
                <c:pt idx="78">
                  <c:v>39</c:v>
                </c:pt>
                <c:pt idx="79">
                  <c:v>56</c:v>
                </c:pt>
                <c:pt idx="80">
                  <c:v>34</c:v>
                </c:pt>
                <c:pt idx="81">
                  <c:v>12</c:v>
                </c:pt>
                <c:pt idx="82">
                  <c:v>14</c:v>
                </c:pt>
                <c:pt idx="83">
                  <c:v>4</c:v>
                </c:pt>
                <c:pt idx="84">
                  <c:v>0</c:v>
                </c:pt>
                <c:pt idx="85">
                  <c:v>0</c:v>
                </c:pt>
                <c:pt idx="86">
                  <c:v>0</c:v>
                </c:pt>
                <c:pt idx="87">
                  <c:v>8</c:v>
                </c:pt>
                <c:pt idx="88">
                  <c:v>23</c:v>
                </c:pt>
                <c:pt idx="89">
                  <c:v>8</c:v>
                </c:pt>
                <c:pt idx="90">
                  <c:v>19</c:v>
                </c:pt>
                <c:pt idx="91">
                  <c:v>18</c:v>
                </c:pt>
                <c:pt idx="92">
                  <c:v>24</c:v>
                </c:pt>
                <c:pt idx="93">
                  <c:v>3</c:v>
                </c:pt>
                <c:pt idx="94">
                  <c:v>25</c:v>
                </c:pt>
                <c:pt idx="95">
                  <c:v>0</c:v>
                </c:pt>
                <c:pt idx="96">
                  <c:v>24</c:v>
                </c:pt>
                <c:pt idx="97">
                  <c:v>7</c:v>
                </c:pt>
                <c:pt idx="98">
                  <c:v>0</c:v>
                </c:pt>
                <c:pt idx="99">
                  <c:v>0</c:v>
                </c:pt>
                <c:pt idx="100">
                  <c:v>6</c:v>
                </c:pt>
                <c:pt idx="101">
                  <c:v>21</c:v>
                </c:pt>
                <c:pt idx="102">
                  <c:v>0</c:v>
                </c:pt>
                <c:pt idx="103">
                  <c:v>37</c:v>
                </c:pt>
                <c:pt idx="104">
                  <c:v>30</c:v>
                </c:pt>
                <c:pt idx="105">
                  <c:v>55</c:v>
                </c:pt>
                <c:pt idx="106">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705</c:v>
                </c:pt>
                <c:pt idx="1">
                  <c:v>2006</c:v>
                </c:pt>
                <c:pt idx="2">
                  <c:v>5394</c:v>
                </c:pt>
                <c:pt idx="3">
                  <c:v>9748</c:v>
                </c:pt>
                <c:pt idx="4">
                  <c:v>10973</c:v>
                </c:pt>
                <c:pt idx="5">
                  <c:v>11849</c:v>
                </c:pt>
                <c:pt idx="6">
                  <c:v>10461</c:v>
                </c:pt>
                <c:pt idx="7">
                  <c:v>11929</c:v>
                </c:pt>
                <c:pt idx="8">
                  <c:v>14150</c:v>
                </c:pt>
                <c:pt idx="9">
                  <c:v>11898</c:v>
                </c:pt>
                <c:pt idx="10">
                  <c:v>11570</c:v>
                </c:pt>
                <c:pt idx="11">
                  <c:v>11367</c:v>
                </c:pt>
                <c:pt idx="12">
                  <c:v>12267</c:v>
                </c:pt>
                <c:pt idx="13">
                  <c:v>14734</c:v>
                </c:pt>
                <c:pt idx="14">
                  <c:v>15433</c:v>
                </c:pt>
                <c:pt idx="15">
                  <c:v>14592</c:v>
                </c:pt>
                <c:pt idx="16">
                  <c:v>14029</c:v>
                </c:pt>
                <c:pt idx="17">
                  <c:v>15545</c:v>
                </c:pt>
                <c:pt idx="18">
                  <c:v>14226</c:v>
                </c:pt>
                <c:pt idx="19">
                  <c:v>14141</c:v>
                </c:pt>
                <c:pt idx="20">
                  <c:v>14726</c:v>
                </c:pt>
                <c:pt idx="21">
                  <c:v>14504</c:v>
                </c:pt>
                <c:pt idx="22">
                  <c:v>14895</c:v>
                </c:pt>
                <c:pt idx="23">
                  <c:v>15346</c:v>
                </c:pt>
                <c:pt idx="24">
                  <c:v>16426</c:v>
                </c:pt>
                <c:pt idx="25">
                  <c:v>14836</c:v>
                </c:pt>
                <c:pt idx="26">
                  <c:v>15723</c:v>
                </c:pt>
                <c:pt idx="27">
                  <c:v>15047</c:v>
                </c:pt>
                <c:pt idx="28">
                  <c:v>15752</c:v>
                </c:pt>
                <c:pt idx="29">
                  <c:v>14873</c:v>
                </c:pt>
                <c:pt idx="30">
                  <c:v>15776</c:v>
                </c:pt>
                <c:pt idx="31">
                  <c:v>15591</c:v>
                </c:pt>
                <c:pt idx="32">
                  <c:v>16389</c:v>
                </c:pt>
                <c:pt idx="33">
                  <c:v>15795</c:v>
                </c:pt>
                <c:pt idx="34">
                  <c:v>14994</c:v>
                </c:pt>
                <c:pt idx="35">
                  <c:v>13790</c:v>
                </c:pt>
                <c:pt idx="36">
                  <c:v>13515</c:v>
                </c:pt>
                <c:pt idx="37">
                  <c:v>13834</c:v>
                </c:pt>
                <c:pt idx="38">
                  <c:v>13749</c:v>
                </c:pt>
                <c:pt idx="39">
                  <c:v>13916</c:v>
                </c:pt>
                <c:pt idx="40">
                  <c:v>13989</c:v>
                </c:pt>
                <c:pt idx="41">
                  <c:v>13820</c:v>
                </c:pt>
                <c:pt idx="42">
                  <c:v>12798</c:v>
                </c:pt>
                <c:pt idx="43">
                  <c:v>13315</c:v>
                </c:pt>
                <c:pt idx="44">
                  <c:v>13532</c:v>
                </c:pt>
                <c:pt idx="45">
                  <c:v>13095</c:v>
                </c:pt>
                <c:pt idx="46">
                  <c:v>11358</c:v>
                </c:pt>
                <c:pt idx="47">
                  <c:v>12062</c:v>
                </c:pt>
                <c:pt idx="48">
                  <c:v>11413</c:v>
                </c:pt>
                <c:pt idx="49">
                  <c:v>7345</c:v>
                </c:pt>
                <c:pt idx="50">
                  <c:v>5016</c:v>
                </c:pt>
                <c:pt idx="51">
                  <c:v>5398</c:v>
                </c:pt>
                <c:pt idx="52">
                  <c:v>3254</c:v>
                </c:pt>
                <c:pt idx="53">
                  <c:v>1348</c:v>
                </c:pt>
                <c:pt idx="54">
                  <c:v>550</c:v>
                </c:pt>
                <c:pt idx="55">
                  <c:v>220</c:v>
                </c:pt>
                <c:pt idx="56">
                  <c:v>206</c:v>
                </c:pt>
                <c:pt idx="57">
                  <c:v>139</c:v>
                </c:pt>
                <c:pt idx="58">
                  <c:v>190</c:v>
                </c:pt>
                <c:pt idx="59">
                  <c:v>274</c:v>
                </c:pt>
                <c:pt idx="60">
                  <c:v>279</c:v>
                </c:pt>
                <c:pt idx="61">
                  <c:v>258</c:v>
                </c:pt>
                <c:pt idx="62">
                  <c:v>265</c:v>
                </c:pt>
                <c:pt idx="63">
                  <c:v>110</c:v>
                </c:pt>
                <c:pt idx="64">
                  <c:v>262</c:v>
                </c:pt>
                <c:pt idx="65">
                  <c:v>62</c:v>
                </c:pt>
                <c:pt idx="66">
                  <c:v>123</c:v>
                </c:pt>
                <c:pt idx="67">
                  <c:v>101</c:v>
                </c:pt>
                <c:pt idx="68">
                  <c:v>68</c:v>
                </c:pt>
                <c:pt idx="69">
                  <c:v>163</c:v>
                </c:pt>
                <c:pt idx="70">
                  <c:v>74</c:v>
                </c:pt>
                <c:pt idx="71">
                  <c:v>53</c:v>
                </c:pt>
                <c:pt idx="72">
                  <c:v>95</c:v>
                </c:pt>
                <c:pt idx="73">
                  <c:v>105</c:v>
                </c:pt>
                <c:pt idx="74">
                  <c:v>99</c:v>
                </c:pt>
                <c:pt idx="75">
                  <c:v>66</c:v>
                </c:pt>
                <c:pt idx="76">
                  <c:v>50</c:v>
                </c:pt>
                <c:pt idx="77">
                  <c:v>57</c:v>
                </c:pt>
                <c:pt idx="78">
                  <c:v>19</c:v>
                </c:pt>
                <c:pt idx="79">
                  <c:v>24</c:v>
                </c:pt>
                <c:pt idx="80">
                  <c:v>29</c:v>
                </c:pt>
                <c:pt idx="81">
                  <c:v>13</c:v>
                </c:pt>
                <c:pt idx="82">
                  <c:v>22</c:v>
                </c:pt>
                <c:pt idx="83">
                  <c:v>40</c:v>
                </c:pt>
                <c:pt idx="84">
                  <c:v>7</c:v>
                </c:pt>
                <c:pt idx="85">
                  <c:v>54</c:v>
                </c:pt>
                <c:pt idx="86">
                  <c:v>8</c:v>
                </c:pt>
                <c:pt idx="87">
                  <c:v>62</c:v>
                </c:pt>
                <c:pt idx="88">
                  <c:v>58</c:v>
                </c:pt>
                <c:pt idx="89">
                  <c:v>7</c:v>
                </c:pt>
                <c:pt idx="90">
                  <c:v>58</c:v>
                </c:pt>
                <c:pt idx="91">
                  <c:v>2</c:v>
                </c:pt>
                <c:pt idx="92">
                  <c:v>4</c:v>
                </c:pt>
                <c:pt idx="93">
                  <c:v>26</c:v>
                </c:pt>
                <c:pt idx="94">
                  <c:v>12</c:v>
                </c:pt>
                <c:pt idx="95">
                  <c:v>15</c:v>
                </c:pt>
                <c:pt idx="96">
                  <c:v>19</c:v>
                </c:pt>
                <c:pt idx="97">
                  <c:v>42</c:v>
                </c:pt>
                <c:pt idx="98">
                  <c:v>8</c:v>
                </c:pt>
                <c:pt idx="99">
                  <c:v>2</c:v>
                </c:pt>
                <c:pt idx="100">
                  <c:v>46</c:v>
                </c:pt>
                <c:pt idx="101">
                  <c:v>33</c:v>
                </c:pt>
                <c:pt idx="102">
                  <c:v>149</c:v>
                </c:pt>
                <c:pt idx="103">
                  <c:v>348</c:v>
                </c:pt>
                <c:pt idx="104">
                  <c:v>1079</c:v>
                </c:pt>
                <c:pt idx="105">
                  <c:v>5354</c:v>
                </c:pt>
                <c:pt idx="106">
                  <c:v>910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998</c:v>
                </c:pt>
                <c:pt idx="1">
                  <c:v>2090</c:v>
                </c:pt>
                <c:pt idx="2">
                  <c:v>5519</c:v>
                </c:pt>
                <c:pt idx="3">
                  <c:v>9882</c:v>
                </c:pt>
                <c:pt idx="4">
                  <c:v>11024</c:v>
                </c:pt>
                <c:pt idx="5">
                  <c:v>12519</c:v>
                </c:pt>
                <c:pt idx="6">
                  <c:v>11067</c:v>
                </c:pt>
                <c:pt idx="7">
                  <c:v>12491</c:v>
                </c:pt>
                <c:pt idx="8">
                  <c:v>14395</c:v>
                </c:pt>
                <c:pt idx="9">
                  <c:v>12300</c:v>
                </c:pt>
                <c:pt idx="10">
                  <c:v>12122</c:v>
                </c:pt>
                <c:pt idx="11">
                  <c:v>12030</c:v>
                </c:pt>
                <c:pt idx="12">
                  <c:v>13152</c:v>
                </c:pt>
                <c:pt idx="13">
                  <c:v>15565</c:v>
                </c:pt>
                <c:pt idx="14">
                  <c:v>15800</c:v>
                </c:pt>
                <c:pt idx="15">
                  <c:v>15356</c:v>
                </c:pt>
                <c:pt idx="16">
                  <c:v>14789</c:v>
                </c:pt>
                <c:pt idx="17">
                  <c:v>16189</c:v>
                </c:pt>
                <c:pt idx="18">
                  <c:v>14777</c:v>
                </c:pt>
                <c:pt idx="19">
                  <c:v>14676</c:v>
                </c:pt>
                <c:pt idx="20">
                  <c:v>15476</c:v>
                </c:pt>
                <c:pt idx="21">
                  <c:v>14875</c:v>
                </c:pt>
                <c:pt idx="22">
                  <c:v>15720</c:v>
                </c:pt>
                <c:pt idx="23">
                  <c:v>15955</c:v>
                </c:pt>
                <c:pt idx="24">
                  <c:v>16816</c:v>
                </c:pt>
                <c:pt idx="25">
                  <c:v>15332</c:v>
                </c:pt>
                <c:pt idx="26">
                  <c:v>16487</c:v>
                </c:pt>
                <c:pt idx="27">
                  <c:v>15600</c:v>
                </c:pt>
                <c:pt idx="28">
                  <c:v>16391</c:v>
                </c:pt>
                <c:pt idx="29">
                  <c:v>15498</c:v>
                </c:pt>
                <c:pt idx="30">
                  <c:v>16379</c:v>
                </c:pt>
                <c:pt idx="31">
                  <c:v>16008</c:v>
                </c:pt>
                <c:pt idx="32">
                  <c:v>17000</c:v>
                </c:pt>
                <c:pt idx="33">
                  <c:v>16276</c:v>
                </c:pt>
                <c:pt idx="34">
                  <c:v>15428</c:v>
                </c:pt>
                <c:pt idx="35">
                  <c:v>14343</c:v>
                </c:pt>
                <c:pt idx="36">
                  <c:v>14232</c:v>
                </c:pt>
                <c:pt idx="37">
                  <c:v>14482</c:v>
                </c:pt>
                <c:pt idx="38">
                  <c:v>14301</c:v>
                </c:pt>
                <c:pt idx="39">
                  <c:v>14777</c:v>
                </c:pt>
                <c:pt idx="40">
                  <c:v>20066</c:v>
                </c:pt>
                <c:pt idx="41">
                  <c:v>24090</c:v>
                </c:pt>
                <c:pt idx="42">
                  <c:v>24605</c:v>
                </c:pt>
                <c:pt idx="43">
                  <c:v>26100</c:v>
                </c:pt>
                <c:pt idx="44">
                  <c:v>29776</c:v>
                </c:pt>
                <c:pt idx="45">
                  <c:v>32946</c:v>
                </c:pt>
                <c:pt idx="46">
                  <c:v>48942</c:v>
                </c:pt>
                <c:pt idx="47">
                  <c:v>47794</c:v>
                </c:pt>
                <c:pt idx="48">
                  <c:v>66892</c:v>
                </c:pt>
                <c:pt idx="49">
                  <c:v>99481</c:v>
                </c:pt>
                <c:pt idx="50">
                  <c:v>229957</c:v>
                </c:pt>
                <c:pt idx="51">
                  <c:v>448718</c:v>
                </c:pt>
                <c:pt idx="52">
                  <c:v>66267</c:v>
                </c:pt>
                <c:pt idx="53">
                  <c:v>12033</c:v>
                </c:pt>
                <c:pt idx="54">
                  <c:v>6781</c:v>
                </c:pt>
                <c:pt idx="55">
                  <c:v>4827</c:v>
                </c:pt>
                <c:pt idx="56">
                  <c:v>2220</c:v>
                </c:pt>
                <c:pt idx="57">
                  <c:v>1694</c:v>
                </c:pt>
                <c:pt idx="58">
                  <c:v>970</c:v>
                </c:pt>
                <c:pt idx="59">
                  <c:v>918</c:v>
                </c:pt>
                <c:pt idx="60">
                  <c:v>812</c:v>
                </c:pt>
                <c:pt idx="61">
                  <c:v>461</c:v>
                </c:pt>
                <c:pt idx="62">
                  <c:v>437</c:v>
                </c:pt>
                <c:pt idx="63">
                  <c:v>491</c:v>
                </c:pt>
                <c:pt idx="64">
                  <c:v>356</c:v>
                </c:pt>
                <c:pt idx="65">
                  <c:v>124</c:v>
                </c:pt>
                <c:pt idx="66">
                  <c:v>188</c:v>
                </c:pt>
                <c:pt idx="67">
                  <c:v>154</c:v>
                </c:pt>
                <c:pt idx="68">
                  <c:v>123</c:v>
                </c:pt>
                <c:pt idx="69">
                  <c:v>176</c:v>
                </c:pt>
                <c:pt idx="70">
                  <c:v>118</c:v>
                </c:pt>
                <c:pt idx="71">
                  <c:v>112</c:v>
                </c:pt>
                <c:pt idx="72">
                  <c:v>169</c:v>
                </c:pt>
                <c:pt idx="73">
                  <c:v>105</c:v>
                </c:pt>
                <c:pt idx="74">
                  <c:v>99</c:v>
                </c:pt>
                <c:pt idx="75">
                  <c:v>116</c:v>
                </c:pt>
                <c:pt idx="76">
                  <c:v>61</c:v>
                </c:pt>
                <c:pt idx="77">
                  <c:v>73</c:v>
                </c:pt>
                <c:pt idx="78">
                  <c:v>58</c:v>
                </c:pt>
                <c:pt idx="79">
                  <c:v>80</c:v>
                </c:pt>
                <c:pt idx="80">
                  <c:v>63</c:v>
                </c:pt>
                <c:pt idx="81">
                  <c:v>25</c:v>
                </c:pt>
                <c:pt idx="82">
                  <c:v>36</c:v>
                </c:pt>
                <c:pt idx="83">
                  <c:v>44</c:v>
                </c:pt>
                <c:pt idx="84">
                  <c:v>7</c:v>
                </c:pt>
                <c:pt idx="85">
                  <c:v>54</c:v>
                </c:pt>
                <c:pt idx="86">
                  <c:v>8</c:v>
                </c:pt>
                <c:pt idx="87">
                  <c:v>70</c:v>
                </c:pt>
                <c:pt idx="88">
                  <c:v>81</c:v>
                </c:pt>
                <c:pt idx="89">
                  <c:v>15</c:v>
                </c:pt>
                <c:pt idx="90">
                  <c:v>77</c:v>
                </c:pt>
                <c:pt idx="91">
                  <c:v>20</c:v>
                </c:pt>
                <c:pt idx="92">
                  <c:v>28</c:v>
                </c:pt>
                <c:pt idx="93">
                  <c:v>29</c:v>
                </c:pt>
                <c:pt idx="94">
                  <c:v>37</c:v>
                </c:pt>
                <c:pt idx="95">
                  <c:v>15</c:v>
                </c:pt>
                <c:pt idx="96">
                  <c:v>43</c:v>
                </c:pt>
                <c:pt idx="97">
                  <c:v>49</c:v>
                </c:pt>
                <c:pt idx="98">
                  <c:v>8</c:v>
                </c:pt>
                <c:pt idx="99">
                  <c:v>2</c:v>
                </c:pt>
                <c:pt idx="100">
                  <c:v>52</c:v>
                </c:pt>
                <c:pt idx="101">
                  <c:v>54</c:v>
                </c:pt>
                <c:pt idx="102">
                  <c:v>149</c:v>
                </c:pt>
                <c:pt idx="103">
                  <c:v>385</c:v>
                </c:pt>
                <c:pt idx="104">
                  <c:v>1109</c:v>
                </c:pt>
                <c:pt idx="105">
                  <c:v>5409</c:v>
                </c:pt>
                <c:pt idx="106">
                  <c:v>918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4208</c:v>
                </c:pt>
                <c:pt idx="1">
                  <c:v>5763</c:v>
                </c:pt>
                <c:pt idx="2">
                  <c:v>7007</c:v>
                </c:pt>
                <c:pt idx="3">
                  <c:v>7636</c:v>
                </c:pt>
                <c:pt idx="4">
                  <c:v>8330</c:v>
                </c:pt>
                <c:pt idx="5">
                  <c:v>9981</c:v>
                </c:pt>
                <c:pt idx="6">
                  <c:v>11401</c:v>
                </c:pt>
                <c:pt idx="7">
                  <c:v>12276</c:v>
                </c:pt>
                <c:pt idx="8">
                  <c:v>12569</c:v>
                </c:pt>
                <c:pt idx="9">
                  <c:v>12829</c:v>
                </c:pt>
                <c:pt idx="10">
                  <c:v>13068</c:v>
                </c:pt>
                <c:pt idx="11">
                  <c:v>13826</c:v>
                </c:pt>
                <c:pt idx="12">
                  <c:v>14181</c:v>
                </c:pt>
                <c:pt idx="13">
                  <c:v>14260</c:v>
                </c:pt>
                <c:pt idx="14">
                  <c:v>14728</c:v>
                </c:pt>
                <c:pt idx="15">
                  <c:v>14996</c:v>
                </c:pt>
                <c:pt idx="16">
                  <c:v>15263</c:v>
                </c:pt>
                <c:pt idx="17">
                  <c:v>15549</c:v>
                </c:pt>
                <c:pt idx="18">
                  <c:v>15389</c:v>
                </c:pt>
                <c:pt idx="19">
                  <c:v>15212</c:v>
                </c:pt>
                <c:pt idx="20">
                  <c:v>15693</c:v>
                </c:pt>
                <c:pt idx="21">
                  <c:v>15760</c:v>
                </c:pt>
                <c:pt idx="22">
                  <c:v>15783</c:v>
                </c:pt>
                <c:pt idx="23">
                  <c:v>15963</c:v>
                </c:pt>
                <c:pt idx="24">
                  <c:v>15943</c:v>
                </c:pt>
                <c:pt idx="25">
                  <c:v>16202</c:v>
                </c:pt>
                <c:pt idx="26">
                  <c:v>16344</c:v>
                </c:pt>
                <c:pt idx="27">
                  <c:v>16387</c:v>
                </c:pt>
                <c:pt idx="28">
                  <c:v>16412</c:v>
                </c:pt>
                <c:pt idx="29">
                  <c:v>16242</c:v>
                </c:pt>
                <c:pt idx="30">
                  <c:v>16430</c:v>
                </c:pt>
                <c:pt idx="31">
                  <c:v>16269</c:v>
                </c:pt>
                <c:pt idx="32">
                  <c:v>16140</c:v>
                </c:pt>
                <c:pt idx="33">
                  <c:v>15758</c:v>
                </c:pt>
                <c:pt idx="34">
                  <c:v>15474</c:v>
                </c:pt>
                <c:pt idx="35">
                  <c:v>15343</c:v>
                </c:pt>
                <c:pt idx="36">
                  <c:v>15141</c:v>
                </c:pt>
                <c:pt idx="37">
                  <c:v>14855</c:v>
                </c:pt>
                <c:pt idx="38">
                  <c:v>14699</c:v>
                </c:pt>
                <c:pt idx="39">
                  <c:v>14603</c:v>
                </c:pt>
                <c:pt idx="40">
                  <c:v>19874</c:v>
                </c:pt>
                <c:pt idx="41">
                  <c:v>23840</c:v>
                </c:pt>
                <c:pt idx="42">
                  <c:v>25281</c:v>
                </c:pt>
                <c:pt idx="43">
                  <c:v>26514</c:v>
                </c:pt>
                <c:pt idx="44">
                  <c:v>29727</c:v>
                </c:pt>
                <c:pt idx="45">
                  <c:v>32880</c:v>
                </c:pt>
                <c:pt idx="46">
                  <c:v>42311</c:v>
                </c:pt>
                <c:pt idx="47">
                  <c:v>41634</c:v>
                </c:pt>
                <c:pt idx="48">
                  <c:v>46013</c:v>
                </c:pt>
                <c:pt idx="49">
                  <c:v>45958</c:v>
                </c:pt>
                <c:pt idx="50">
                  <c:v>46302</c:v>
                </c:pt>
                <c:pt idx="51">
                  <c:v>45018</c:v>
                </c:pt>
                <c:pt idx="52">
                  <c:v>42133</c:v>
                </c:pt>
                <c:pt idx="53">
                  <c:v>21948</c:v>
                </c:pt>
                <c:pt idx="54">
                  <c:v>11672</c:v>
                </c:pt>
                <c:pt idx="55">
                  <c:v>9077</c:v>
                </c:pt>
                <c:pt idx="56">
                  <c:v>6653</c:v>
                </c:pt>
                <c:pt idx="57">
                  <c:v>6634</c:v>
                </c:pt>
                <c:pt idx="58">
                  <c:v>3148</c:v>
                </c:pt>
                <c:pt idx="59">
                  <c:v>3523</c:v>
                </c:pt>
                <c:pt idx="60">
                  <c:v>2583</c:v>
                </c:pt>
                <c:pt idx="61">
                  <c:v>1147</c:v>
                </c:pt>
                <c:pt idx="62">
                  <c:v>689</c:v>
                </c:pt>
                <c:pt idx="63">
                  <c:v>852</c:v>
                </c:pt>
                <c:pt idx="64">
                  <c:v>389</c:v>
                </c:pt>
                <c:pt idx="65">
                  <c:v>250</c:v>
                </c:pt>
                <c:pt idx="66">
                  <c:v>234</c:v>
                </c:pt>
                <c:pt idx="67">
                  <c:v>239</c:v>
                </c:pt>
                <c:pt idx="68">
                  <c:v>146</c:v>
                </c:pt>
                <c:pt idx="69">
                  <c:v>154</c:v>
                </c:pt>
                <c:pt idx="70">
                  <c:v>224</c:v>
                </c:pt>
                <c:pt idx="71">
                  <c:v>140</c:v>
                </c:pt>
                <c:pt idx="72">
                  <c:v>116</c:v>
                </c:pt>
                <c:pt idx="73">
                  <c:v>109</c:v>
                </c:pt>
                <c:pt idx="74">
                  <c:v>93</c:v>
                </c:pt>
                <c:pt idx="75">
                  <c:v>79</c:v>
                </c:pt>
                <c:pt idx="76">
                  <c:v>92</c:v>
                </c:pt>
                <c:pt idx="77">
                  <c:v>63</c:v>
                </c:pt>
                <c:pt idx="78">
                  <c:v>66</c:v>
                </c:pt>
                <c:pt idx="79">
                  <c:v>49</c:v>
                </c:pt>
                <c:pt idx="80">
                  <c:v>69</c:v>
                </c:pt>
                <c:pt idx="81">
                  <c:v>48</c:v>
                </c:pt>
                <c:pt idx="82">
                  <c:v>45</c:v>
                </c:pt>
                <c:pt idx="83">
                  <c:v>49</c:v>
                </c:pt>
                <c:pt idx="84">
                  <c:v>35</c:v>
                </c:pt>
                <c:pt idx="85">
                  <c:v>37</c:v>
                </c:pt>
                <c:pt idx="86">
                  <c:v>36</c:v>
                </c:pt>
                <c:pt idx="87">
                  <c:v>45</c:v>
                </c:pt>
                <c:pt idx="88">
                  <c:v>82</c:v>
                </c:pt>
                <c:pt idx="89">
                  <c:v>47</c:v>
                </c:pt>
                <c:pt idx="90">
                  <c:v>91</c:v>
                </c:pt>
                <c:pt idx="91">
                  <c:v>30</c:v>
                </c:pt>
                <c:pt idx="92">
                  <c:v>62</c:v>
                </c:pt>
                <c:pt idx="93">
                  <c:v>30</c:v>
                </c:pt>
                <c:pt idx="94">
                  <c:v>46</c:v>
                </c:pt>
                <c:pt idx="95">
                  <c:v>47</c:v>
                </c:pt>
                <c:pt idx="96">
                  <c:v>127</c:v>
                </c:pt>
                <c:pt idx="97">
                  <c:v>66</c:v>
                </c:pt>
                <c:pt idx="98">
                  <c:v>53</c:v>
                </c:pt>
                <c:pt idx="99">
                  <c:v>54</c:v>
                </c:pt>
                <c:pt idx="100">
                  <c:v>74</c:v>
                </c:pt>
                <c:pt idx="101">
                  <c:v>289</c:v>
                </c:pt>
                <c:pt idx="102">
                  <c:v>1017</c:v>
                </c:pt>
                <c:pt idx="103">
                  <c:v>2341</c:v>
                </c:pt>
                <c:pt idx="104">
                  <c:v>3898</c:v>
                </c:pt>
                <c:pt idx="105">
                  <c:v>5502</c:v>
                </c:pt>
                <c:pt idx="106">
                  <c:v>725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31</c:v>
                </c:pt>
                <c:pt idx="1">
                  <c:v>0.04</c:v>
                </c:pt>
                <c:pt idx="2">
                  <c:v>0.04</c:v>
                </c:pt>
                <c:pt idx="3">
                  <c:v>0.02</c:v>
                </c:pt>
                <c:pt idx="4">
                  <c:v>0.01</c:v>
                </c:pt>
                <c:pt idx="5">
                  <c:v>0.05</c:v>
                </c:pt>
                <c:pt idx="6">
                  <c:v>0.09</c:v>
                </c:pt>
                <c:pt idx="7">
                  <c:v>0.09</c:v>
                </c:pt>
                <c:pt idx="8">
                  <c:v>0.03</c:v>
                </c:pt>
                <c:pt idx="9">
                  <c:v>0.06</c:v>
                </c:pt>
                <c:pt idx="10">
                  <c:v>0.08</c:v>
                </c:pt>
                <c:pt idx="11">
                  <c:v>0.08</c:v>
                </c:pt>
                <c:pt idx="12">
                  <c:v>0.09</c:v>
                </c:pt>
                <c:pt idx="13">
                  <c:v>0.08</c:v>
                </c:pt>
                <c:pt idx="14">
                  <c:v>0.04</c:v>
                </c:pt>
                <c:pt idx="15">
                  <c:v>7.0000000000000007E-2</c:v>
                </c:pt>
                <c:pt idx="16">
                  <c:v>0.06</c:v>
                </c:pt>
                <c:pt idx="17">
                  <c:v>7.0000000000000007E-2</c:v>
                </c:pt>
                <c:pt idx="18">
                  <c:v>7.0000000000000007E-2</c:v>
                </c:pt>
                <c:pt idx="19">
                  <c:v>0.06</c:v>
                </c:pt>
                <c:pt idx="20">
                  <c:v>0.08</c:v>
                </c:pt>
                <c:pt idx="21">
                  <c:v>0.05</c:v>
                </c:pt>
                <c:pt idx="22">
                  <c:v>0.08</c:v>
                </c:pt>
                <c:pt idx="23">
                  <c:v>0.08</c:v>
                </c:pt>
                <c:pt idx="24">
                  <c:v>0.06</c:v>
                </c:pt>
                <c:pt idx="25">
                  <c:v>7.0000000000000007E-2</c:v>
                </c:pt>
                <c:pt idx="26">
                  <c:v>0.09</c:v>
                </c:pt>
                <c:pt idx="27">
                  <c:v>0.06</c:v>
                </c:pt>
                <c:pt idx="28">
                  <c:v>0.06</c:v>
                </c:pt>
                <c:pt idx="29">
                  <c:v>0.06</c:v>
                </c:pt>
                <c:pt idx="30">
                  <c:v>0.04</c:v>
                </c:pt>
                <c:pt idx="31">
                  <c:v>0.05</c:v>
                </c:pt>
                <c:pt idx="32">
                  <c:v>0.05</c:v>
                </c:pt>
                <c:pt idx="33">
                  <c:v>0.03</c:v>
                </c:pt>
                <c:pt idx="34">
                  <c:v>0.03</c:v>
                </c:pt>
                <c:pt idx="35">
                  <c:v>0.04</c:v>
                </c:pt>
                <c:pt idx="36">
                  <c:v>0.06</c:v>
                </c:pt>
                <c:pt idx="37">
                  <c:v>7.0000000000000007E-2</c:v>
                </c:pt>
                <c:pt idx="38">
                  <c:v>0.05</c:v>
                </c:pt>
                <c:pt idx="39">
                  <c:v>7.0000000000000007E-2</c:v>
                </c:pt>
                <c:pt idx="40">
                  <c:v>0.26</c:v>
                </c:pt>
                <c:pt idx="41">
                  <c:v>0.37</c:v>
                </c:pt>
                <c:pt idx="42">
                  <c:v>0.42</c:v>
                </c:pt>
                <c:pt idx="43">
                  <c:v>0.41</c:v>
                </c:pt>
                <c:pt idx="44">
                  <c:v>0.47</c:v>
                </c:pt>
                <c:pt idx="45">
                  <c:v>0.53</c:v>
                </c:pt>
                <c:pt idx="46">
                  <c:v>0.7</c:v>
                </c:pt>
                <c:pt idx="47">
                  <c:v>0.68</c:v>
                </c:pt>
                <c:pt idx="48">
                  <c:v>0.77</c:v>
                </c:pt>
                <c:pt idx="49">
                  <c:v>0.9</c:v>
                </c:pt>
                <c:pt idx="50">
                  <c:v>0.97</c:v>
                </c:pt>
                <c:pt idx="51">
                  <c:v>0.99</c:v>
                </c:pt>
                <c:pt idx="52">
                  <c:v>0.99</c:v>
                </c:pt>
                <c:pt idx="53">
                  <c:v>0.92</c:v>
                </c:pt>
                <c:pt idx="54">
                  <c:v>0.94</c:v>
                </c:pt>
                <c:pt idx="55">
                  <c:v>0.97</c:v>
                </c:pt>
                <c:pt idx="56">
                  <c:v>0.94</c:v>
                </c:pt>
                <c:pt idx="57">
                  <c:v>0.95</c:v>
                </c:pt>
                <c:pt idx="58">
                  <c:v>0.84</c:v>
                </c:pt>
                <c:pt idx="59">
                  <c:v>0.81</c:v>
                </c:pt>
                <c:pt idx="60">
                  <c:v>0.73</c:v>
                </c:pt>
                <c:pt idx="61">
                  <c:v>0.48</c:v>
                </c:pt>
                <c:pt idx="62">
                  <c:v>0.44</c:v>
                </c:pt>
                <c:pt idx="63">
                  <c:v>0.79</c:v>
                </c:pt>
                <c:pt idx="64">
                  <c:v>0.39</c:v>
                </c:pt>
                <c:pt idx="65">
                  <c:v>0.4</c:v>
                </c:pt>
                <c:pt idx="66">
                  <c:v>0.3</c:v>
                </c:pt>
                <c:pt idx="67">
                  <c:v>0.28999999999999998</c:v>
                </c:pt>
                <c:pt idx="68">
                  <c:v>0.52</c:v>
                </c:pt>
                <c:pt idx="69">
                  <c:v>0.13</c:v>
                </c:pt>
                <c:pt idx="70">
                  <c:v>0.38</c:v>
                </c:pt>
                <c:pt idx="71">
                  <c:v>0.5</c:v>
                </c:pt>
                <c:pt idx="72">
                  <c:v>0.48</c:v>
                </c:pt>
                <c:pt idx="73">
                  <c:v>0</c:v>
                </c:pt>
                <c:pt idx="74">
                  <c:v>0</c:v>
                </c:pt>
                <c:pt idx="75">
                  <c:v>0.57999999999999996</c:v>
                </c:pt>
                <c:pt idx="76">
                  <c:v>0.26</c:v>
                </c:pt>
                <c:pt idx="77">
                  <c:v>0.3</c:v>
                </c:pt>
                <c:pt idx="78">
                  <c:v>0.68</c:v>
                </c:pt>
                <c:pt idx="79">
                  <c:v>0.84</c:v>
                </c:pt>
                <c:pt idx="80">
                  <c:v>0.78</c:v>
                </c:pt>
                <c:pt idx="81">
                  <c:v>0.38</c:v>
                </c:pt>
                <c:pt idx="82">
                  <c:v>0.33</c:v>
                </c:pt>
                <c:pt idx="83">
                  <c:v>0.28999999999999998</c:v>
                </c:pt>
                <c:pt idx="84">
                  <c:v>0</c:v>
                </c:pt>
                <c:pt idx="85">
                  <c:v>0</c:v>
                </c:pt>
                <c:pt idx="86">
                  <c:v>0</c:v>
                </c:pt>
                <c:pt idx="87">
                  <c:v>0.04</c:v>
                </c:pt>
                <c:pt idx="88">
                  <c:v>0.15</c:v>
                </c:pt>
                <c:pt idx="89">
                  <c:v>0.14000000000000001</c:v>
                </c:pt>
                <c:pt idx="90">
                  <c:v>0.56999999999999995</c:v>
                </c:pt>
                <c:pt idx="91">
                  <c:v>0.5</c:v>
                </c:pt>
                <c:pt idx="92">
                  <c:v>0.83</c:v>
                </c:pt>
                <c:pt idx="93">
                  <c:v>0.2</c:v>
                </c:pt>
                <c:pt idx="94">
                  <c:v>0.78</c:v>
                </c:pt>
                <c:pt idx="95">
                  <c:v>0</c:v>
                </c:pt>
                <c:pt idx="96">
                  <c:v>0.67</c:v>
                </c:pt>
                <c:pt idx="97">
                  <c:v>0.08</c:v>
                </c:pt>
                <c:pt idx="98">
                  <c:v>0</c:v>
                </c:pt>
                <c:pt idx="99">
                  <c:v>0</c:v>
                </c:pt>
                <c:pt idx="100">
                  <c:v>0.2</c:v>
                </c:pt>
                <c:pt idx="101">
                  <c:v>0.5</c:v>
                </c:pt>
                <c:pt idx="102">
                  <c:v>0</c:v>
                </c:pt>
                <c:pt idx="103">
                  <c:v>0.11</c:v>
                </c:pt>
                <c:pt idx="104">
                  <c:v>0.02</c:v>
                </c:pt>
                <c:pt idx="105">
                  <c:v>0.01</c:v>
                </c:pt>
                <c:pt idx="106">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552</c:v>
                </c:pt>
                <c:pt idx="1">
                  <c:v>55607</c:v>
                </c:pt>
                <c:pt idx="2">
                  <c:v>62191</c:v>
                </c:pt>
                <c:pt idx="3">
                  <c:v>38939</c:v>
                </c:pt>
                <c:pt idx="4">
                  <c:v>25211</c:v>
                </c:pt>
                <c:pt idx="5">
                  <c:v>37517</c:v>
                </c:pt>
                <c:pt idx="6">
                  <c:v>43900</c:v>
                </c:pt>
                <c:pt idx="7">
                  <c:v>61948</c:v>
                </c:pt>
                <c:pt idx="8">
                  <c:v>36114</c:v>
                </c:pt>
                <c:pt idx="9">
                  <c:v>36299</c:v>
                </c:pt>
                <c:pt idx="10">
                  <c:v>52839</c:v>
                </c:pt>
                <c:pt idx="11">
                  <c:v>41265</c:v>
                </c:pt>
                <c:pt idx="12">
                  <c:v>30335</c:v>
                </c:pt>
                <c:pt idx="13">
                  <c:v>31334</c:v>
                </c:pt>
                <c:pt idx="14">
                  <c:v>34629</c:v>
                </c:pt>
                <c:pt idx="15">
                  <c:v>61500</c:v>
                </c:pt>
                <c:pt idx="16">
                  <c:v>29963</c:v>
                </c:pt>
                <c:pt idx="17">
                  <c:v>7324</c:v>
                </c:pt>
                <c:pt idx="18">
                  <c:v>3608</c:v>
                </c:pt>
                <c:pt idx="19">
                  <c:v>3097</c:v>
                </c:pt>
                <c:pt idx="20">
                  <c:v>4138</c:v>
                </c:pt>
                <c:pt idx="21">
                  <c:v>1660</c:v>
                </c:pt>
                <c:pt idx="22">
                  <c:v>1281</c:v>
                </c:pt>
                <c:pt idx="23">
                  <c:v>1444</c:v>
                </c:pt>
                <c:pt idx="24">
                  <c:v>1245</c:v>
                </c:pt>
                <c:pt idx="25">
                  <c:v>1274</c:v>
                </c:pt>
                <c:pt idx="26">
                  <c:v>1301</c:v>
                </c:pt>
                <c:pt idx="27">
                  <c:v>24452</c:v>
                </c:pt>
                <c:pt idx="28">
                  <c:v>58592</c:v>
                </c:pt>
                <c:pt idx="29">
                  <c:v>33161</c:v>
                </c:pt>
                <c:pt idx="30">
                  <c:v>36436</c:v>
                </c:pt>
                <c:pt idx="31">
                  <c:v>38443</c:v>
                </c:pt>
                <c:pt idx="32">
                  <c:v>34229</c:v>
                </c:pt>
                <c:pt idx="33">
                  <c:v>40534</c:v>
                </c:pt>
                <c:pt idx="34">
                  <c:v>44723</c:v>
                </c:pt>
                <c:pt idx="35">
                  <c:v>16626</c:v>
                </c:pt>
                <c:pt idx="36">
                  <c:v>2709</c:v>
                </c:pt>
                <c:pt idx="37">
                  <c:v>1445</c:v>
                </c:pt>
                <c:pt idx="38">
                  <c:v>14426</c:v>
                </c:pt>
                <c:pt idx="39">
                  <c:v>27646</c:v>
                </c:pt>
                <c:pt idx="40">
                  <c:v>70667</c:v>
                </c:pt>
                <c:pt idx="41">
                  <c:v>86170</c:v>
                </c:pt>
                <c:pt idx="42">
                  <c:v>83230</c:v>
                </c:pt>
                <c:pt idx="43">
                  <c:v>86035</c:v>
                </c:pt>
                <c:pt idx="44">
                  <c:v>65534</c:v>
                </c:pt>
                <c:pt idx="45">
                  <c:v>75820</c:v>
                </c:pt>
                <c:pt idx="46">
                  <c:v>127420</c:v>
                </c:pt>
                <c:pt idx="47">
                  <c:v>124751</c:v>
                </c:pt>
                <c:pt idx="48">
                  <c:v>170392</c:v>
                </c:pt>
                <c:pt idx="49">
                  <c:v>278041</c:v>
                </c:pt>
                <c:pt idx="50">
                  <c:v>536730</c:v>
                </c:pt>
                <c:pt idx="51">
                  <c:v>743924</c:v>
                </c:pt>
                <c:pt idx="52">
                  <c:v>77550</c:v>
                </c:pt>
                <c:pt idx="53">
                  <c:v>43087</c:v>
                </c:pt>
                <c:pt idx="54">
                  <c:v>23260</c:v>
                </c:pt>
                <c:pt idx="55">
                  <c:v>13223</c:v>
                </c:pt>
                <c:pt idx="56">
                  <c:v>40894</c:v>
                </c:pt>
                <c:pt idx="57">
                  <c:v>72962</c:v>
                </c:pt>
                <c:pt idx="58">
                  <c:v>86685</c:v>
                </c:pt>
                <c:pt idx="59">
                  <c:v>141360</c:v>
                </c:pt>
                <c:pt idx="60">
                  <c:v>124422</c:v>
                </c:pt>
                <c:pt idx="61">
                  <c:v>114790</c:v>
                </c:pt>
                <c:pt idx="62">
                  <c:v>93992</c:v>
                </c:pt>
                <c:pt idx="63">
                  <c:v>77088</c:v>
                </c:pt>
                <c:pt idx="64">
                  <c:v>60757</c:v>
                </c:pt>
                <c:pt idx="65">
                  <c:v>58902</c:v>
                </c:pt>
                <c:pt idx="66">
                  <c:v>58569</c:v>
                </c:pt>
                <c:pt idx="67">
                  <c:v>71539</c:v>
                </c:pt>
                <c:pt idx="68">
                  <c:v>51474</c:v>
                </c:pt>
                <c:pt idx="69">
                  <c:v>52651</c:v>
                </c:pt>
                <c:pt idx="70">
                  <c:v>50118</c:v>
                </c:pt>
                <c:pt idx="71">
                  <c:v>48985</c:v>
                </c:pt>
                <c:pt idx="72">
                  <c:v>35216</c:v>
                </c:pt>
                <c:pt idx="73">
                  <c:v>517</c:v>
                </c:pt>
                <c:pt idx="74">
                  <c:v>1058</c:v>
                </c:pt>
                <c:pt idx="75">
                  <c:v>593</c:v>
                </c:pt>
                <c:pt idx="76">
                  <c:v>1677</c:v>
                </c:pt>
                <c:pt idx="77">
                  <c:v>455</c:v>
                </c:pt>
                <c:pt idx="78">
                  <c:v>1497</c:v>
                </c:pt>
                <c:pt idx="79">
                  <c:v>27642</c:v>
                </c:pt>
                <c:pt idx="80">
                  <c:v>52105</c:v>
                </c:pt>
                <c:pt idx="81">
                  <c:v>53595</c:v>
                </c:pt>
                <c:pt idx="82">
                  <c:v>51936</c:v>
                </c:pt>
                <c:pt idx="83">
                  <c:v>14395</c:v>
                </c:pt>
                <c:pt idx="84">
                  <c:v>11799</c:v>
                </c:pt>
                <c:pt idx="85">
                  <c:v>884</c:v>
                </c:pt>
                <c:pt idx="86">
                  <c:v>7938</c:v>
                </c:pt>
                <c:pt idx="87">
                  <c:v>1087</c:v>
                </c:pt>
                <c:pt idx="88">
                  <c:v>1161</c:v>
                </c:pt>
                <c:pt idx="89">
                  <c:v>1054</c:v>
                </c:pt>
                <c:pt idx="90">
                  <c:v>13493</c:v>
                </c:pt>
                <c:pt idx="91">
                  <c:v>29983</c:v>
                </c:pt>
                <c:pt idx="92">
                  <c:v>54528</c:v>
                </c:pt>
                <c:pt idx="93">
                  <c:v>82308</c:v>
                </c:pt>
                <c:pt idx="94">
                  <c:v>58393</c:v>
                </c:pt>
                <c:pt idx="95">
                  <c:v>35221</c:v>
                </c:pt>
                <c:pt idx="96">
                  <c:v>44720</c:v>
                </c:pt>
                <c:pt idx="97">
                  <c:v>103863</c:v>
                </c:pt>
                <c:pt idx="98">
                  <c:v>225472</c:v>
                </c:pt>
                <c:pt idx="99">
                  <c:v>260287</c:v>
                </c:pt>
                <c:pt idx="100">
                  <c:v>286691</c:v>
                </c:pt>
                <c:pt idx="101">
                  <c:v>334746</c:v>
                </c:pt>
                <c:pt idx="102">
                  <c:v>442205</c:v>
                </c:pt>
                <c:pt idx="103">
                  <c:v>616012</c:v>
                </c:pt>
                <c:pt idx="104">
                  <c:v>173268</c:v>
                </c:pt>
                <c:pt idx="105">
                  <c:v>152568</c:v>
                </c:pt>
                <c:pt idx="106">
                  <c:v>151211</c:v>
                </c:pt>
                <c:pt idx="107">
                  <c:v>13588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66194</c:v>
                </c:pt>
                <c:pt idx="1">
                  <c:v>276241</c:v>
                </c:pt>
                <c:pt idx="2">
                  <c:v>279480</c:v>
                </c:pt>
                <c:pt idx="3">
                  <c:v>276889</c:v>
                </c:pt>
                <c:pt idx="4">
                  <c:v>287655</c:v>
                </c:pt>
                <c:pt idx="5">
                  <c:v>284051</c:v>
                </c:pt>
                <c:pt idx="6">
                  <c:v>268302</c:v>
                </c:pt>
                <c:pt idx="7">
                  <c:v>284396</c:v>
                </c:pt>
                <c:pt idx="8">
                  <c:v>307398</c:v>
                </c:pt>
                <c:pt idx="9">
                  <c:v>282043</c:v>
                </c:pt>
                <c:pt idx="10">
                  <c:v>283883</c:v>
                </c:pt>
                <c:pt idx="11">
                  <c:v>283827</c:v>
                </c:pt>
                <c:pt idx="12">
                  <c:v>280340</c:v>
                </c:pt>
                <c:pt idx="13">
                  <c:v>308534</c:v>
                </c:pt>
                <c:pt idx="14">
                  <c:v>268837</c:v>
                </c:pt>
                <c:pt idx="15">
                  <c:v>275606</c:v>
                </c:pt>
                <c:pt idx="16">
                  <c:v>279051</c:v>
                </c:pt>
                <c:pt idx="17">
                  <c:v>314537</c:v>
                </c:pt>
                <c:pt idx="18">
                  <c:v>296923</c:v>
                </c:pt>
                <c:pt idx="19">
                  <c:v>292599</c:v>
                </c:pt>
                <c:pt idx="20">
                  <c:v>320553</c:v>
                </c:pt>
                <c:pt idx="21">
                  <c:v>324277</c:v>
                </c:pt>
                <c:pt idx="22">
                  <c:v>322341</c:v>
                </c:pt>
                <c:pt idx="23">
                  <c:v>313544</c:v>
                </c:pt>
                <c:pt idx="24">
                  <c:v>311314</c:v>
                </c:pt>
                <c:pt idx="25">
                  <c:v>314892</c:v>
                </c:pt>
                <c:pt idx="26">
                  <c:v>326585</c:v>
                </c:pt>
                <c:pt idx="27">
                  <c:v>297609</c:v>
                </c:pt>
                <c:pt idx="28">
                  <c:v>294058</c:v>
                </c:pt>
                <c:pt idx="29">
                  <c:v>300253</c:v>
                </c:pt>
                <c:pt idx="30">
                  <c:v>314149</c:v>
                </c:pt>
                <c:pt idx="31">
                  <c:v>289641</c:v>
                </c:pt>
                <c:pt idx="32">
                  <c:v>298797</c:v>
                </c:pt>
                <c:pt idx="33">
                  <c:v>284647</c:v>
                </c:pt>
                <c:pt idx="34">
                  <c:v>295086</c:v>
                </c:pt>
                <c:pt idx="35">
                  <c:v>311907</c:v>
                </c:pt>
                <c:pt idx="36">
                  <c:v>303558</c:v>
                </c:pt>
                <c:pt idx="37">
                  <c:v>295646</c:v>
                </c:pt>
                <c:pt idx="38">
                  <c:v>283629</c:v>
                </c:pt>
                <c:pt idx="39">
                  <c:v>284403</c:v>
                </c:pt>
                <c:pt idx="40">
                  <c:v>250103</c:v>
                </c:pt>
                <c:pt idx="41">
                  <c:v>249253</c:v>
                </c:pt>
                <c:pt idx="42">
                  <c:v>250419</c:v>
                </c:pt>
                <c:pt idx="43">
                  <c:v>259281</c:v>
                </c:pt>
                <c:pt idx="44">
                  <c:v>285182</c:v>
                </c:pt>
                <c:pt idx="45">
                  <c:v>279644</c:v>
                </c:pt>
                <c:pt idx="46">
                  <c:v>261270</c:v>
                </c:pt>
                <c:pt idx="47">
                  <c:v>273273</c:v>
                </c:pt>
                <c:pt idx="48">
                  <c:v>285526</c:v>
                </c:pt>
                <c:pt idx="49">
                  <c:v>256406</c:v>
                </c:pt>
                <c:pt idx="50">
                  <c:v>263449</c:v>
                </c:pt>
                <c:pt idx="51">
                  <c:v>183406</c:v>
                </c:pt>
                <c:pt idx="52">
                  <c:v>200027</c:v>
                </c:pt>
                <c:pt idx="53">
                  <c:v>190664</c:v>
                </c:pt>
                <c:pt idx="54">
                  <c:v>229837</c:v>
                </c:pt>
                <c:pt idx="55">
                  <c:v>256890</c:v>
                </c:pt>
                <c:pt idx="56">
                  <c:v>239412</c:v>
                </c:pt>
                <c:pt idx="57">
                  <c:v>216567</c:v>
                </c:pt>
                <c:pt idx="58">
                  <c:v>188580</c:v>
                </c:pt>
                <c:pt idx="59">
                  <c:v>185131</c:v>
                </c:pt>
                <c:pt idx="60">
                  <c:v>181895</c:v>
                </c:pt>
                <c:pt idx="61">
                  <c:v>179784</c:v>
                </c:pt>
                <c:pt idx="62">
                  <c:v>186298</c:v>
                </c:pt>
                <c:pt idx="63">
                  <c:v>212664</c:v>
                </c:pt>
                <c:pt idx="64">
                  <c:v>215641</c:v>
                </c:pt>
                <c:pt idx="65">
                  <c:v>218990</c:v>
                </c:pt>
                <c:pt idx="66">
                  <c:v>207026</c:v>
                </c:pt>
                <c:pt idx="67">
                  <c:v>205800</c:v>
                </c:pt>
                <c:pt idx="68">
                  <c:v>204805</c:v>
                </c:pt>
                <c:pt idx="69">
                  <c:v>215537</c:v>
                </c:pt>
                <c:pt idx="70">
                  <c:v>210607</c:v>
                </c:pt>
                <c:pt idx="71">
                  <c:v>203745</c:v>
                </c:pt>
                <c:pt idx="72">
                  <c:v>243155</c:v>
                </c:pt>
                <c:pt idx="73">
                  <c:v>258596</c:v>
                </c:pt>
                <c:pt idx="74">
                  <c:v>276113</c:v>
                </c:pt>
                <c:pt idx="75">
                  <c:v>264171</c:v>
                </c:pt>
                <c:pt idx="76">
                  <c:v>262901</c:v>
                </c:pt>
                <c:pt idx="77">
                  <c:v>262688</c:v>
                </c:pt>
                <c:pt idx="78">
                  <c:v>285638</c:v>
                </c:pt>
                <c:pt idx="79">
                  <c:v>238474</c:v>
                </c:pt>
                <c:pt idx="80">
                  <c:v>225707</c:v>
                </c:pt>
                <c:pt idx="81">
                  <c:v>213913</c:v>
                </c:pt>
                <c:pt idx="82">
                  <c:v>222844</c:v>
                </c:pt>
                <c:pt idx="83">
                  <c:v>252437</c:v>
                </c:pt>
                <c:pt idx="84">
                  <c:v>250944</c:v>
                </c:pt>
                <c:pt idx="85">
                  <c:v>257630</c:v>
                </c:pt>
                <c:pt idx="86">
                  <c:v>247341</c:v>
                </c:pt>
                <c:pt idx="87">
                  <c:v>258391</c:v>
                </c:pt>
                <c:pt idx="88">
                  <c:v>240870</c:v>
                </c:pt>
                <c:pt idx="89">
                  <c:v>244302</c:v>
                </c:pt>
                <c:pt idx="90">
                  <c:v>223766</c:v>
                </c:pt>
                <c:pt idx="91">
                  <c:v>244445</c:v>
                </c:pt>
                <c:pt idx="92">
                  <c:v>204110</c:v>
                </c:pt>
                <c:pt idx="93">
                  <c:v>194758</c:v>
                </c:pt>
                <c:pt idx="94">
                  <c:v>213419</c:v>
                </c:pt>
                <c:pt idx="95">
                  <c:v>236793</c:v>
                </c:pt>
                <c:pt idx="96">
                  <c:v>249771</c:v>
                </c:pt>
                <c:pt idx="97">
                  <c:v>189380</c:v>
                </c:pt>
                <c:pt idx="98">
                  <c:v>73838</c:v>
                </c:pt>
                <c:pt idx="99">
                  <c:v>71147</c:v>
                </c:pt>
                <c:pt idx="100">
                  <c:v>78918</c:v>
                </c:pt>
                <c:pt idx="101">
                  <c:v>74829</c:v>
                </c:pt>
                <c:pt idx="102">
                  <c:v>82211</c:v>
                </c:pt>
                <c:pt idx="103">
                  <c:v>89978</c:v>
                </c:pt>
                <c:pt idx="104">
                  <c:v>69519</c:v>
                </c:pt>
                <c:pt idx="105">
                  <c:v>67942</c:v>
                </c:pt>
                <c:pt idx="106">
                  <c:v>80565</c:v>
                </c:pt>
                <c:pt idx="107">
                  <c:v>7978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348746</c:v>
                </c:pt>
                <c:pt idx="1">
                  <c:v>331848</c:v>
                </c:pt>
                <c:pt idx="2">
                  <c:v>341671</c:v>
                </c:pt>
                <c:pt idx="3">
                  <c:v>315828</c:v>
                </c:pt>
                <c:pt idx="4">
                  <c:v>312866</c:v>
                </c:pt>
                <c:pt idx="5">
                  <c:v>321568</c:v>
                </c:pt>
                <c:pt idx="6">
                  <c:v>312202</c:v>
                </c:pt>
                <c:pt idx="7">
                  <c:v>346344</c:v>
                </c:pt>
                <c:pt idx="8">
                  <c:v>343512</c:v>
                </c:pt>
                <c:pt idx="9">
                  <c:v>318342</c:v>
                </c:pt>
                <c:pt idx="10">
                  <c:v>336722</c:v>
                </c:pt>
                <c:pt idx="11">
                  <c:v>325092</c:v>
                </c:pt>
                <c:pt idx="12">
                  <c:v>310675</c:v>
                </c:pt>
                <c:pt idx="13">
                  <c:v>339868</c:v>
                </c:pt>
                <c:pt idx="14">
                  <c:v>303466</c:v>
                </c:pt>
                <c:pt idx="15">
                  <c:v>337106</c:v>
                </c:pt>
                <c:pt idx="16">
                  <c:v>309014</c:v>
                </c:pt>
                <c:pt idx="17">
                  <c:v>321861</c:v>
                </c:pt>
                <c:pt idx="18">
                  <c:v>300531</c:v>
                </c:pt>
                <c:pt idx="19">
                  <c:v>295696</c:v>
                </c:pt>
                <c:pt idx="20">
                  <c:v>324691</c:v>
                </c:pt>
                <c:pt idx="21">
                  <c:v>325937</c:v>
                </c:pt>
                <c:pt idx="22">
                  <c:v>323622</c:v>
                </c:pt>
                <c:pt idx="23">
                  <c:v>314988</c:v>
                </c:pt>
                <c:pt idx="24">
                  <c:v>312559</c:v>
                </c:pt>
                <c:pt idx="25">
                  <c:v>316166</c:v>
                </c:pt>
                <c:pt idx="26">
                  <c:v>327886</c:v>
                </c:pt>
                <c:pt idx="27">
                  <c:v>322061</c:v>
                </c:pt>
                <c:pt idx="28">
                  <c:v>352650</c:v>
                </c:pt>
                <c:pt idx="29">
                  <c:v>333414</c:v>
                </c:pt>
                <c:pt idx="30">
                  <c:v>350585</c:v>
                </c:pt>
                <c:pt idx="31">
                  <c:v>328084</c:v>
                </c:pt>
                <c:pt idx="32">
                  <c:v>333026</c:v>
                </c:pt>
                <c:pt idx="33">
                  <c:v>325181</c:v>
                </c:pt>
                <c:pt idx="34">
                  <c:v>339809</c:v>
                </c:pt>
                <c:pt idx="35">
                  <c:v>328533</c:v>
                </c:pt>
                <c:pt idx="36">
                  <c:v>306267</c:v>
                </c:pt>
                <c:pt idx="37">
                  <c:v>297091</c:v>
                </c:pt>
                <c:pt idx="38">
                  <c:v>298055</c:v>
                </c:pt>
                <c:pt idx="39">
                  <c:v>312049</c:v>
                </c:pt>
                <c:pt idx="40">
                  <c:v>320770</c:v>
                </c:pt>
                <c:pt idx="41">
                  <c:v>335423</c:v>
                </c:pt>
                <c:pt idx="42">
                  <c:v>333649</c:v>
                </c:pt>
                <c:pt idx="43">
                  <c:v>345316</c:v>
                </c:pt>
                <c:pt idx="44">
                  <c:v>350716</c:v>
                </c:pt>
                <c:pt idx="45">
                  <c:v>355464</c:v>
                </c:pt>
                <c:pt idx="46">
                  <c:v>388690</c:v>
                </c:pt>
                <c:pt idx="47">
                  <c:v>398024</c:v>
                </c:pt>
                <c:pt idx="48">
                  <c:v>455918</c:v>
                </c:pt>
                <c:pt idx="49">
                  <c:v>534447</c:v>
                </c:pt>
                <c:pt idx="50">
                  <c:v>800179</c:v>
                </c:pt>
                <c:pt idx="51">
                  <c:v>927330</c:v>
                </c:pt>
                <c:pt idx="52">
                  <c:v>277577</c:v>
                </c:pt>
                <c:pt idx="53">
                  <c:v>233751</c:v>
                </c:pt>
                <c:pt idx="54">
                  <c:v>253097</c:v>
                </c:pt>
                <c:pt idx="55">
                  <c:v>270113</c:v>
                </c:pt>
                <c:pt idx="56">
                  <c:v>280306</c:v>
                </c:pt>
                <c:pt idx="57">
                  <c:v>289529</c:v>
                </c:pt>
                <c:pt idx="58">
                  <c:v>275265</c:v>
                </c:pt>
                <c:pt idx="59">
                  <c:v>326491</c:v>
                </c:pt>
                <c:pt idx="60">
                  <c:v>306317</c:v>
                </c:pt>
                <c:pt idx="61">
                  <c:v>294574</c:v>
                </c:pt>
                <c:pt idx="62">
                  <c:v>280290</c:v>
                </c:pt>
                <c:pt idx="63">
                  <c:v>289752</c:v>
                </c:pt>
                <c:pt idx="64">
                  <c:v>276398</c:v>
                </c:pt>
                <c:pt idx="65">
                  <c:v>277892</c:v>
                </c:pt>
                <c:pt idx="66">
                  <c:v>265595</c:v>
                </c:pt>
                <c:pt idx="67">
                  <c:v>277339</c:v>
                </c:pt>
                <c:pt idx="68">
                  <c:v>256279</c:v>
                </c:pt>
                <c:pt idx="69">
                  <c:v>268188</c:v>
                </c:pt>
                <c:pt idx="70">
                  <c:v>260725</c:v>
                </c:pt>
                <c:pt idx="71">
                  <c:v>252730</c:v>
                </c:pt>
                <c:pt idx="72">
                  <c:v>278371</c:v>
                </c:pt>
                <c:pt idx="73">
                  <c:v>259113</c:v>
                </c:pt>
                <c:pt idx="74">
                  <c:v>277171</c:v>
                </c:pt>
                <c:pt idx="75">
                  <c:v>264764</c:v>
                </c:pt>
                <c:pt idx="76">
                  <c:v>264578</c:v>
                </c:pt>
                <c:pt idx="77">
                  <c:v>263143</c:v>
                </c:pt>
                <c:pt idx="78">
                  <c:v>287135</c:v>
                </c:pt>
                <c:pt idx="79">
                  <c:v>266116</c:v>
                </c:pt>
                <c:pt idx="80">
                  <c:v>277812</c:v>
                </c:pt>
                <c:pt idx="81">
                  <c:v>267508</c:v>
                </c:pt>
                <c:pt idx="82">
                  <c:v>274780</c:v>
                </c:pt>
                <c:pt idx="83">
                  <c:v>266832</c:v>
                </c:pt>
                <c:pt idx="84">
                  <c:v>262743</c:v>
                </c:pt>
                <c:pt idx="85">
                  <c:v>258514</c:v>
                </c:pt>
                <c:pt idx="86">
                  <c:v>255279</c:v>
                </c:pt>
                <c:pt idx="87">
                  <c:v>259478</c:v>
                </c:pt>
                <c:pt idx="88">
                  <c:v>242031</c:v>
                </c:pt>
                <c:pt idx="89">
                  <c:v>245356</c:v>
                </c:pt>
                <c:pt idx="90">
                  <c:v>237259</c:v>
                </c:pt>
                <c:pt idx="91">
                  <c:v>274428</c:v>
                </c:pt>
                <c:pt idx="92">
                  <c:v>258638</c:v>
                </c:pt>
                <c:pt idx="93">
                  <c:v>277066</c:v>
                </c:pt>
                <c:pt idx="94">
                  <c:v>271812</c:v>
                </c:pt>
                <c:pt idx="95">
                  <c:v>272014</c:v>
                </c:pt>
                <c:pt idx="96">
                  <c:v>294491</c:v>
                </c:pt>
                <c:pt idx="97">
                  <c:v>293243</c:v>
                </c:pt>
                <c:pt idx="98">
                  <c:v>299310</c:v>
                </c:pt>
                <c:pt idx="99">
                  <c:v>331434</c:v>
                </c:pt>
                <c:pt idx="100">
                  <c:v>365609</c:v>
                </c:pt>
                <c:pt idx="101">
                  <c:v>409575</c:v>
                </c:pt>
                <c:pt idx="102">
                  <c:v>524416</c:v>
                </c:pt>
                <c:pt idx="103">
                  <c:v>705990</c:v>
                </c:pt>
                <c:pt idx="104">
                  <c:v>242787</c:v>
                </c:pt>
                <c:pt idx="105">
                  <c:v>220510</c:v>
                </c:pt>
                <c:pt idx="106">
                  <c:v>231776</c:v>
                </c:pt>
                <c:pt idx="107">
                  <c:v>215673</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88446</c:v>
                </c:pt>
                <c:pt idx="1">
                  <c:v>291405</c:v>
                </c:pt>
                <c:pt idx="2">
                  <c:v>295260</c:v>
                </c:pt>
                <c:pt idx="3">
                  <c:v>296754</c:v>
                </c:pt>
                <c:pt idx="4">
                  <c:v>300243</c:v>
                </c:pt>
                <c:pt idx="5">
                  <c:v>306414</c:v>
                </c:pt>
                <c:pt idx="6">
                  <c:v>314217</c:v>
                </c:pt>
                <c:pt idx="7">
                  <c:v>326884</c:v>
                </c:pt>
                <c:pt idx="8">
                  <c:v>330232</c:v>
                </c:pt>
                <c:pt idx="9">
                  <c:v>330109</c:v>
                </c:pt>
                <c:pt idx="10">
                  <c:v>326241</c:v>
                </c:pt>
                <c:pt idx="11">
                  <c:v>324912</c:v>
                </c:pt>
                <c:pt idx="12">
                  <c:v>323728</c:v>
                </c:pt>
                <c:pt idx="13">
                  <c:v>320483</c:v>
                </c:pt>
                <c:pt idx="14">
                  <c:v>321752</c:v>
                </c:pt>
                <c:pt idx="15">
                  <c:v>317714</c:v>
                </c:pt>
                <c:pt idx="16">
                  <c:v>313663</c:v>
                </c:pt>
                <c:pt idx="17">
                  <c:v>315365</c:v>
                </c:pt>
                <c:pt idx="18">
                  <c:v>314183</c:v>
                </c:pt>
                <c:pt idx="19">
                  <c:v>316559</c:v>
                </c:pt>
                <c:pt idx="20">
                  <c:v>314861</c:v>
                </c:pt>
                <c:pt idx="21">
                  <c:v>315173</c:v>
                </c:pt>
                <c:pt idx="22">
                  <c:v>314670</c:v>
                </c:pt>
                <c:pt idx="23">
                  <c:v>318041</c:v>
                </c:pt>
                <c:pt idx="24">
                  <c:v>321046</c:v>
                </c:pt>
                <c:pt idx="25">
                  <c:v>324365</c:v>
                </c:pt>
                <c:pt idx="26">
                  <c:v>324973</c:v>
                </c:pt>
                <c:pt idx="27">
                  <c:v>327384</c:v>
                </c:pt>
                <c:pt idx="28">
                  <c:v>329529</c:v>
                </c:pt>
                <c:pt idx="29">
                  <c:v>331582</c:v>
                </c:pt>
                <c:pt idx="30">
                  <c:v>332994</c:v>
                </c:pt>
                <c:pt idx="31">
                  <c:v>333944</c:v>
                </c:pt>
                <c:pt idx="32">
                  <c:v>334922</c:v>
                </c:pt>
                <c:pt idx="33">
                  <c:v>328521</c:v>
                </c:pt>
                <c:pt idx="34">
                  <c:v>324753</c:v>
                </c:pt>
                <c:pt idx="35">
                  <c:v>318788</c:v>
                </c:pt>
                <c:pt idx="36">
                  <c:v>316955</c:v>
                </c:pt>
                <c:pt idx="37">
                  <c:v>312670</c:v>
                </c:pt>
                <c:pt idx="38">
                  <c:v>308972</c:v>
                </c:pt>
                <c:pt idx="39">
                  <c:v>303051</c:v>
                </c:pt>
                <c:pt idx="40">
                  <c:v>322065</c:v>
                </c:pt>
                <c:pt idx="41">
                  <c:v>336562</c:v>
                </c:pt>
                <c:pt idx="42">
                  <c:v>337323</c:v>
                </c:pt>
                <c:pt idx="43">
                  <c:v>339628</c:v>
                </c:pt>
                <c:pt idx="44">
                  <c:v>340624</c:v>
                </c:pt>
                <c:pt idx="45">
                  <c:v>342966</c:v>
                </c:pt>
                <c:pt idx="46">
                  <c:v>353829</c:v>
                </c:pt>
                <c:pt idx="47">
                  <c:v>358487</c:v>
                </c:pt>
                <c:pt idx="48">
                  <c:v>353308</c:v>
                </c:pt>
                <c:pt idx="49">
                  <c:v>342638</c:v>
                </c:pt>
                <c:pt idx="50">
                  <c:v>334150</c:v>
                </c:pt>
                <c:pt idx="51">
                  <c:v>376965</c:v>
                </c:pt>
                <c:pt idx="52">
                  <c:v>346862</c:v>
                </c:pt>
                <c:pt idx="53">
                  <c:v>301252</c:v>
                </c:pt>
                <c:pt idx="54">
                  <c:v>266796</c:v>
                </c:pt>
                <c:pt idx="55">
                  <c:v>249677</c:v>
                </c:pt>
                <c:pt idx="56">
                  <c:v>260152</c:v>
                </c:pt>
                <c:pt idx="57">
                  <c:v>283414</c:v>
                </c:pt>
                <c:pt idx="58">
                  <c:v>285479</c:v>
                </c:pt>
                <c:pt idx="59">
                  <c:v>290082</c:v>
                </c:pt>
                <c:pt idx="60">
                  <c:v>295985</c:v>
                </c:pt>
                <c:pt idx="61">
                  <c:v>294594</c:v>
                </c:pt>
                <c:pt idx="62">
                  <c:v>292970</c:v>
                </c:pt>
                <c:pt idx="63">
                  <c:v>290524</c:v>
                </c:pt>
                <c:pt idx="64">
                  <c:v>285808</c:v>
                </c:pt>
                <c:pt idx="65">
                  <c:v>281909</c:v>
                </c:pt>
                <c:pt idx="66">
                  <c:v>279802</c:v>
                </c:pt>
                <c:pt idx="67">
                  <c:v>273536</c:v>
                </c:pt>
                <c:pt idx="68">
                  <c:v>265616</c:v>
                </c:pt>
                <c:pt idx="69">
                  <c:v>266174</c:v>
                </c:pt>
                <c:pt idx="70">
                  <c:v>264121</c:v>
                </c:pt>
                <c:pt idx="71">
                  <c:v>264494</c:v>
                </c:pt>
                <c:pt idx="72">
                  <c:v>265183</c:v>
                </c:pt>
                <c:pt idx="73">
                  <c:v>265562</c:v>
                </c:pt>
                <c:pt idx="74">
                  <c:v>264900</c:v>
                </c:pt>
                <c:pt idx="75">
                  <c:v>268365</c:v>
                </c:pt>
                <c:pt idx="76">
                  <c:v>269828</c:v>
                </c:pt>
                <c:pt idx="77">
                  <c:v>269989</c:v>
                </c:pt>
                <c:pt idx="78">
                  <c:v>271017</c:v>
                </c:pt>
                <c:pt idx="79">
                  <c:v>270264</c:v>
                </c:pt>
                <c:pt idx="80">
                  <c:v>270611</c:v>
                </c:pt>
                <c:pt idx="81">
                  <c:v>269887</c:v>
                </c:pt>
                <c:pt idx="82">
                  <c:v>270565</c:v>
                </c:pt>
                <c:pt idx="83">
                  <c:v>265967</c:v>
                </c:pt>
                <c:pt idx="84">
                  <c:v>265170</c:v>
                </c:pt>
                <c:pt idx="85">
                  <c:v>261099</c:v>
                </c:pt>
                <c:pt idx="86">
                  <c:v>258238</c:v>
                </c:pt>
                <c:pt idx="87">
                  <c:v>253737</c:v>
                </c:pt>
                <c:pt idx="88">
                  <c:v>254609</c:v>
                </c:pt>
                <c:pt idx="89">
                  <c:v>252998</c:v>
                </c:pt>
                <c:pt idx="90">
                  <c:v>252270</c:v>
                </c:pt>
                <c:pt idx="91">
                  <c:v>251063</c:v>
                </c:pt>
                <c:pt idx="92">
                  <c:v>253312</c:v>
                </c:pt>
                <c:pt idx="93">
                  <c:v>271158</c:v>
                </c:pt>
                <c:pt idx="94">
                  <c:v>277239</c:v>
                </c:pt>
                <c:pt idx="95">
                  <c:v>283869</c:v>
                </c:pt>
                <c:pt idx="96">
                  <c:v>288792</c:v>
                </c:pt>
                <c:pt idx="97">
                  <c:v>296733</c:v>
                </c:pt>
                <c:pt idx="98">
                  <c:v>305750</c:v>
                </c:pt>
                <c:pt idx="99">
                  <c:v>306113</c:v>
                </c:pt>
                <c:pt idx="100">
                  <c:v>313860</c:v>
                </c:pt>
                <c:pt idx="101">
                  <c:v>313283</c:v>
                </c:pt>
                <c:pt idx="102">
                  <c:v>313288</c:v>
                </c:pt>
                <c:pt idx="103">
                  <c:v>311204</c:v>
                </c:pt>
                <c:pt idx="104">
                  <c:v>269437</c:v>
                </c:pt>
                <c:pt idx="105">
                  <c:v>245473</c:v>
                </c:pt>
                <c:pt idx="106">
                  <c:v>252247</c:v>
                </c:pt>
                <c:pt idx="107">
                  <c:v>2366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6</c:v>
                </c:pt>
                <c:pt idx="1">
                  <c:v>0.3</c:v>
                </c:pt>
                <c:pt idx="2">
                  <c:v>0.34</c:v>
                </c:pt>
                <c:pt idx="3">
                  <c:v>0.24</c:v>
                </c:pt>
                <c:pt idx="4">
                  <c:v>0.16</c:v>
                </c:pt>
                <c:pt idx="5">
                  <c:v>0.2</c:v>
                </c:pt>
                <c:pt idx="6">
                  <c:v>0.2</c:v>
                </c:pt>
                <c:pt idx="7">
                  <c:v>0.22</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02</c:v>
                </c:pt>
                <c:pt idx="21">
                  <c:v>0.01</c:v>
                </c:pt>
                <c:pt idx="22">
                  <c:v>0</c:v>
                </c:pt>
                <c:pt idx="23">
                  <c:v>0.01</c:v>
                </c:pt>
                <c:pt idx="24">
                  <c:v>0.01</c:v>
                </c:pt>
                <c:pt idx="25">
                  <c:v>0.01</c:v>
                </c:pt>
                <c:pt idx="26">
                  <c:v>0</c:v>
                </c:pt>
                <c:pt idx="27">
                  <c:v>0.08</c:v>
                </c:pt>
                <c:pt idx="28">
                  <c:v>0.18</c:v>
                </c:pt>
                <c:pt idx="29">
                  <c:v>0.15</c:v>
                </c:pt>
                <c:pt idx="30">
                  <c:v>0.14000000000000001</c:v>
                </c:pt>
                <c:pt idx="31">
                  <c:v>0.13</c:v>
                </c:pt>
                <c:pt idx="32">
                  <c:v>0.12</c:v>
                </c:pt>
                <c:pt idx="33">
                  <c:v>0.14000000000000001</c:v>
                </c:pt>
                <c:pt idx="34">
                  <c:v>0.15</c:v>
                </c:pt>
                <c:pt idx="35">
                  <c:v>0.06</c:v>
                </c:pt>
                <c:pt idx="36">
                  <c:v>0.01</c:v>
                </c:pt>
                <c:pt idx="37">
                  <c:v>0</c:v>
                </c:pt>
                <c:pt idx="38">
                  <c:v>0.06</c:v>
                </c:pt>
                <c:pt idx="39">
                  <c:v>0.1</c:v>
                </c:pt>
                <c:pt idx="40">
                  <c:v>0.24</c:v>
                </c:pt>
                <c:pt idx="41">
                  <c:v>0.27</c:v>
                </c:pt>
                <c:pt idx="42">
                  <c:v>0.27</c:v>
                </c:pt>
                <c:pt idx="43">
                  <c:v>0.25</c:v>
                </c:pt>
                <c:pt idx="44">
                  <c:v>0.17</c:v>
                </c:pt>
                <c:pt idx="45">
                  <c:v>0.19</c:v>
                </c:pt>
                <c:pt idx="46">
                  <c:v>0.28999999999999998</c:v>
                </c:pt>
                <c:pt idx="47">
                  <c:v>0.28000000000000003</c:v>
                </c:pt>
                <c:pt idx="48">
                  <c:v>0.33</c:v>
                </c:pt>
                <c:pt idx="49">
                  <c:v>0.49</c:v>
                </c:pt>
                <c:pt idx="50">
                  <c:v>0.61</c:v>
                </c:pt>
                <c:pt idx="51">
                  <c:v>0.81</c:v>
                </c:pt>
                <c:pt idx="52">
                  <c:v>0.33</c:v>
                </c:pt>
                <c:pt idx="53">
                  <c:v>0.27</c:v>
                </c:pt>
                <c:pt idx="54">
                  <c:v>0.18</c:v>
                </c:pt>
                <c:pt idx="55">
                  <c:v>0.1</c:v>
                </c:pt>
                <c:pt idx="56">
                  <c:v>0.19</c:v>
                </c:pt>
                <c:pt idx="57">
                  <c:v>0.3</c:v>
                </c:pt>
                <c:pt idx="58">
                  <c:v>0.36</c:v>
                </c:pt>
                <c:pt idx="59">
                  <c:v>0.48</c:v>
                </c:pt>
                <c:pt idx="60">
                  <c:v>0.45</c:v>
                </c:pt>
                <c:pt idx="61">
                  <c:v>0.43</c:v>
                </c:pt>
                <c:pt idx="62">
                  <c:v>0.36</c:v>
                </c:pt>
                <c:pt idx="63">
                  <c:v>0.28000000000000003</c:v>
                </c:pt>
                <c:pt idx="64">
                  <c:v>0.23</c:v>
                </c:pt>
                <c:pt idx="65">
                  <c:v>0.23</c:v>
                </c:pt>
                <c:pt idx="66">
                  <c:v>0.23</c:v>
                </c:pt>
                <c:pt idx="67">
                  <c:v>0.26</c:v>
                </c:pt>
                <c:pt idx="68">
                  <c:v>0.2</c:v>
                </c:pt>
                <c:pt idx="69">
                  <c:v>0.2</c:v>
                </c:pt>
                <c:pt idx="70">
                  <c:v>0.2</c:v>
                </c:pt>
                <c:pt idx="71">
                  <c:v>0.2</c:v>
                </c:pt>
                <c:pt idx="72">
                  <c:v>0.13</c:v>
                </c:pt>
                <c:pt idx="73">
                  <c:v>0</c:v>
                </c:pt>
                <c:pt idx="74">
                  <c:v>0</c:v>
                </c:pt>
                <c:pt idx="75">
                  <c:v>0</c:v>
                </c:pt>
                <c:pt idx="76">
                  <c:v>0.01</c:v>
                </c:pt>
                <c:pt idx="77">
                  <c:v>0</c:v>
                </c:pt>
                <c:pt idx="78">
                  <c:v>0.01</c:v>
                </c:pt>
                <c:pt idx="79">
                  <c:v>0.12</c:v>
                </c:pt>
                <c:pt idx="80">
                  <c:v>0.21</c:v>
                </c:pt>
                <c:pt idx="81">
                  <c:v>0.22</c:v>
                </c:pt>
                <c:pt idx="82">
                  <c:v>0.2</c:v>
                </c:pt>
                <c:pt idx="83">
                  <c:v>0.06</c:v>
                </c:pt>
                <c:pt idx="84">
                  <c:v>0.05</c:v>
                </c:pt>
                <c:pt idx="85">
                  <c:v>0</c:v>
                </c:pt>
                <c:pt idx="86">
                  <c:v>0.03</c:v>
                </c:pt>
                <c:pt idx="87">
                  <c:v>0</c:v>
                </c:pt>
                <c:pt idx="88">
                  <c:v>0.01</c:v>
                </c:pt>
                <c:pt idx="89">
                  <c:v>0</c:v>
                </c:pt>
                <c:pt idx="90">
                  <c:v>0.06</c:v>
                </c:pt>
                <c:pt idx="91">
                  <c:v>0.12</c:v>
                </c:pt>
                <c:pt idx="92">
                  <c:v>0.24</c:v>
                </c:pt>
                <c:pt idx="93">
                  <c:v>0.31</c:v>
                </c:pt>
                <c:pt idx="94">
                  <c:v>0.2</c:v>
                </c:pt>
                <c:pt idx="95">
                  <c:v>0.11</c:v>
                </c:pt>
                <c:pt idx="96">
                  <c:v>0.12</c:v>
                </c:pt>
                <c:pt idx="97">
                  <c:v>0.35</c:v>
                </c:pt>
                <c:pt idx="98">
                  <c:v>0.8</c:v>
                </c:pt>
                <c:pt idx="99">
                  <c:v>0.82</c:v>
                </c:pt>
                <c:pt idx="100">
                  <c:v>0.82</c:v>
                </c:pt>
                <c:pt idx="101">
                  <c:v>0.85</c:v>
                </c:pt>
                <c:pt idx="102">
                  <c:v>0.87</c:v>
                </c:pt>
                <c:pt idx="103">
                  <c:v>0.91</c:v>
                </c:pt>
                <c:pt idx="104">
                  <c:v>0.8</c:v>
                </c:pt>
                <c:pt idx="105">
                  <c:v>0.78</c:v>
                </c:pt>
                <c:pt idx="106">
                  <c:v>0.74</c:v>
                </c:pt>
                <c:pt idx="107">
                  <c:v>0.7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259</c:v>
                </c:pt>
                <c:pt idx="1">
                  <c:v>55523</c:v>
                </c:pt>
                <c:pt idx="2">
                  <c:v>62066</c:v>
                </c:pt>
                <c:pt idx="3">
                  <c:v>38805</c:v>
                </c:pt>
                <c:pt idx="4">
                  <c:v>25160</c:v>
                </c:pt>
                <c:pt idx="5">
                  <c:v>36847</c:v>
                </c:pt>
                <c:pt idx="6">
                  <c:v>43294</c:v>
                </c:pt>
                <c:pt idx="7">
                  <c:v>61386</c:v>
                </c:pt>
                <c:pt idx="8">
                  <c:v>35869</c:v>
                </c:pt>
                <c:pt idx="9">
                  <c:v>35896</c:v>
                </c:pt>
                <c:pt idx="10">
                  <c:v>52287</c:v>
                </c:pt>
                <c:pt idx="11">
                  <c:v>40602</c:v>
                </c:pt>
                <c:pt idx="12">
                  <c:v>29449</c:v>
                </c:pt>
                <c:pt idx="13">
                  <c:v>30502</c:v>
                </c:pt>
                <c:pt idx="14">
                  <c:v>34262</c:v>
                </c:pt>
                <c:pt idx="15">
                  <c:v>60735</c:v>
                </c:pt>
                <c:pt idx="16">
                  <c:v>29203</c:v>
                </c:pt>
                <c:pt idx="17">
                  <c:v>6680</c:v>
                </c:pt>
                <c:pt idx="18">
                  <c:v>3057</c:v>
                </c:pt>
                <c:pt idx="19">
                  <c:v>2562</c:v>
                </c:pt>
                <c:pt idx="20">
                  <c:v>3387</c:v>
                </c:pt>
                <c:pt idx="21">
                  <c:v>1289</c:v>
                </c:pt>
                <c:pt idx="22">
                  <c:v>456</c:v>
                </c:pt>
                <c:pt idx="23">
                  <c:v>819</c:v>
                </c:pt>
                <c:pt idx="24">
                  <c:v>855</c:v>
                </c:pt>
                <c:pt idx="25">
                  <c:v>778</c:v>
                </c:pt>
                <c:pt idx="26">
                  <c:v>537</c:v>
                </c:pt>
                <c:pt idx="27">
                  <c:v>23899</c:v>
                </c:pt>
                <c:pt idx="28">
                  <c:v>57953</c:v>
                </c:pt>
                <c:pt idx="29">
                  <c:v>32536</c:v>
                </c:pt>
                <c:pt idx="30">
                  <c:v>35833</c:v>
                </c:pt>
                <c:pt idx="31">
                  <c:v>38026</c:v>
                </c:pt>
                <c:pt idx="32">
                  <c:v>33618</c:v>
                </c:pt>
                <c:pt idx="33">
                  <c:v>40053</c:v>
                </c:pt>
                <c:pt idx="34">
                  <c:v>44289</c:v>
                </c:pt>
                <c:pt idx="35">
                  <c:v>16073</c:v>
                </c:pt>
                <c:pt idx="36">
                  <c:v>1992</c:v>
                </c:pt>
                <c:pt idx="37">
                  <c:v>797</c:v>
                </c:pt>
                <c:pt idx="38">
                  <c:v>13874</c:v>
                </c:pt>
                <c:pt idx="39">
                  <c:v>26785</c:v>
                </c:pt>
                <c:pt idx="40">
                  <c:v>64590</c:v>
                </c:pt>
                <c:pt idx="41">
                  <c:v>75900</c:v>
                </c:pt>
                <c:pt idx="42">
                  <c:v>71423</c:v>
                </c:pt>
                <c:pt idx="43">
                  <c:v>73250</c:v>
                </c:pt>
                <c:pt idx="44">
                  <c:v>49290</c:v>
                </c:pt>
                <c:pt idx="45">
                  <c:v>55969</c:v>
                </c:pt>
                <c:pt idx="46">
                  <c:v>89836</c:v>
                </c:pt>
                <c:pt idx="47">
                  <c:v>89019</c:v>
                </c:pt>
                <c:pt idx="48">
                  <c:v>114913</c:v>
                </c:pt>
                <c:pt idx="49">
                  <c:v>185905</c:v>
                </c:pt>
                <c:pt idx="50">
                  <c:v>311789</c:v>
                </c:pt>
                <c:pt idx="51">
                  <c:v>300604</c:v>
                </c:pt>
                <c:pt idx="52">
                  <c:v>14537</c:v>
                </c:pt>
                <c:pt idx="53">
                  <c:v>32402</c:v>
                </c:pt>
                <c:pt idx="54">
                  <c:v>17029</c:v>
                </c:pt>
                <c:pt idx="55">
                  <c:v>8616</c:v>
                </c:pt>
                <c:pt idx="56">
                  <c:v>38880</c:v>
                </c:pt>
                <c:pt idx="57">
                  <c:v>71407</c:v>
                </c:pt>
                <c:pt idx="58">
                  <c:v>85905</c:v>
                </c:pt>
                <c:pt idx="59">
                  <c:v>140716</c:v>
                </c:pt>
                <c:pt idx="60">
                  <c:v>123889</c:v>
                </c:pt>
                <c:pt idx="61">
                  <c:v>114587</c:v>
                </c:pt>
                <c:pt idx="62">
                  <c:v>93820</c:v>
                </c:pt>
                <c:pt idx="63">
                  <c:v>76707</c:v>
                </c:pt>
                <c:pt idx="64">
                  <c:v>60663</c:v>
                </c:pt>
                <c:pt idx="65">
                  <c:v>58840</c:v>
                </c:pt>
                <c:pt idx="66">
                  <c:v>58504</c:v>
                </c:pt>
                <c:pt idx="67">
                  <c:v>71486</c:v>
                </c:pt>
                <c:pt idx="68">
                  <c:v>51419</c:v>
                </c:pt>
                <c:pt idx="69">
                  <c:v>52638</c:v>
                </c:pt>
                <c:pt idx="70">
                  <c:v>50074</c:v>
                </c:pt>
                <c:pt idx="71">
                  <c:v>48926</c:v>
                </c:pt>
                <c:pt idx="72">
                  <c:v>35142</c:v>
                </c:pt>
                <c:pt idx="73">
                  <c:v>517</c:v>
                </c:pt>
                <c:pt idx="74">
                  <c:v>1058</c:v>
                </c:pt>
                <c:pt idx="75">
                  <c:v>543</c:v>
                </c:pt>
                <c:pt idx="76">
                  <c:v>1666</c:v>
                </c:pt>
                <c:pt idx="77">
                  <c:v>439</c:v>
                </c:pt>
                <c:pt idx="78">
                  <c:v>1458</c:v>
                </c:pt>
                <c:pt idx="79">
                  <c:v>27586</c:v>
                </c:pt>
                <c:pt idx="80">
                  <c:v>52071</c:v>
                </c:pt>
                <c:pt idx="81">
                  <c:v>53579</c:v>
                </c:pt>
                <c:pt idx="82">
                  <c:v>51922</c:v>
                </c:pt>
                <c:pt idx="83">
                  <c:v>14391</c:v>
                </c:pt>
                <c:pt idx="84">
                  <c:v>11799</c:v>
                </c:pt>
                <c:pt idx="85">
                  <c:v>884</c:v>
                </c:pt>
                <c:pt idx="86">
                  <c:v>7938</c:v>
                </c:pt>
                <c:pt idx="87">
                  <c:v>1079</c:v>
                </c:pt>
                <c:pt idx="88">
                  <c:v>1138</c:v>
                </c:pt>
                <c:pt idx="89">
                  <c:v>1046</c:v>
                </c:pt>
                <c:pt idx="90">
                  <c:v>13474</c:v>
                </c:pt>
                <c:pt idx="91">
                  <c:v>29965</c:v>
                </c:pt>
                <c:pt idx="92">
                  <c:v>54504</c:v>
                </c:pt>
                <c:pt idx="93">
                  <c:v>82305</c:v>
                </c:pt>
                <c:pt idx="94">
                  <c:v>58368</c:v>
                </c:pt>
                <c:pt idx="95">
                  <c:v>35221</c:v>
                </c:pt>
                <c:pt idx="96">
                  <c:v>44696</c:v>
                </c:pt>
                <c:pt idx="97">
                  <c:v>103856</c:v>
                </c:pt>
                <c:pt idx="98">
                  <c:v>225472</c:v>
                </c:pt>
                <c:pt idx="99">
                  <c:v>260287</c:v>
                </c:pt>
                <c:pt idx="100">
                  <c:v>286691</c:v>
                </c:pt>
                <c:pt idx="101">
                  <c:v>334735</c:v>
                </c:pt>
                <c:pt idx="102">
                  <c:v>442184</c:v>
                </c:pt>
                <c:pt idx="103">
                  <c:v>616012</c:v>
                </c:pt>
                <c:pt idx="104">
                  <c:v>173231</c:v>
                </c:pt>
                <c:pt idx="105">
                  <c:v>152538</c:v>
                </c:pt>
                <c:pt idx="106">
                  <c:v>151156</c:v>
                </c:pt>
                <c:pt idx="107">
                  <c:v>1358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65427</c:v>
                </c:pt>
                <c:pt idx="1">
                  <c:v>273438</c:v>
                </c:pt>
                <c:pt idx="2">
                  <c:v>274004</c:v>
                </c:pt>
                <c:pt idx="3">
                  <c:v>267100</c:v>
                </c:pt>
                <c:pt idx="4">
                  <c:v>276596</c:v>
                </c:pt>
                <c:pt idx="5">
                  <c:v>272192</c:v>
                </c:pt>
                <c:pt idx="6">
                  <c:v>257831</c:v>
                </c:pt>
                <c:pt idx="7">
                  <c:v>272467</c:v>
                </c:pt>
                <c:pt idx="8">
                  <c:v>293227</c:v>
                </c:pt>
                <c:pt idx="9">
                  <c:v>270132</c:v>
                </c:pt>
                <c:pt idx="10">
                  <c:v>272293</c:v>
                </c:pt>
                <c:pt idx="11">
                  <c:v>272364</c:v>
                </c:pt>
                <c:pt idx="12">
                  <c:v>267863</c:v>
                </c:pt>
                <c:pt idx="13">
                  <c:v>293796</c:v>
                </c:pt>
                <c:pt idx="14">
                  <c:v>253400</c:v>
                </c:pt>
                <c:pt idx="15">
                  <c:v>261002</c:v>
                </c:pt>
                <c:pt idx="16">
                  <c:v>264945</c:v>
                </c:pt>
                <c:pt idx="17">
                  <c:v>298971</c:v>
                </c:pt>
                <c:pt idx="18">
                  <c:v>282697</c:v>
                </c:pt>
                <c:pt idx="19">
                  <c:v>278409</c:v>
                </c:pt>
                <c:pt idx="20">
                  <c:v>305789</c:v>
                </c:pt>
                <c:pt idx="21">
                  <c:v>309773</c:v>
                </c:pt>
                <c:pt idx="22">
                  <c:v>307436</c:v>
                </c:pt>
                <c:pt idx="23">
                  <c:v>298198</c:v>
                </c:pt>
                <c:pt idx="24">
                  <c:v>294888</c:v>
                </c:pt>
                <c:pt idx="25">
                  <c:v>300056</c:v>
                </c:pt>
                <c:pt idx="26">
                  <c:v>310862</c:v>
                </c:pt>
                <c:pt idx="27">
                  <c:v>282562</c:v>
                </c:pt>
                <c:pt idx="28">
                  <c:v>278306</c:v>
                </c:pt>
                <c:pt idx="29">
                  <c:v>285370</c:v>
                </c:pt>
                <c:pt idx="30">
                  <c:v>298373</c:v>
                </c:pt>
                <c:pt idx="31">
                  <c:v>274050</c:v>
                </c:pt>
                <c:pt idx="32">
                  <c:v>282379</c:v>
                </c:pt>
                <c:pt idx="33">
                  <c:v>268852</c:v>
                </c:pt>
                <c:pt idx="34">
                  <c:v>280069</c:v>
                </c:pt>
                <c:pt idx="35">
                  <c:v>298098</c:v>
                </c:pt>
                <c:pt idx="36">
                  <c:v>290032</c:v>
                </c:pt>
                <c:pt idx="37">
                  <c:v>281810</c:v>
                </c:pt>
                <c:pt idx="38">
                  <c:v>269880</c:v>
                </c:pt>
                <c:pt idx="39">
                  <c:v>270487</c:v>
                </c:pt>
                <c:pt idx="40">
                  <c:v>236103</c:v>
                </c:pt>
                <c:pt idx="41">
                  <c:v>235429</c:v>
                </c:pt>
                <c:pt idx="42">
                  <c:v>237621</c:v>
                </c:pt>
                <c:pt idx="43">
                  <c:v>245956</c:v>
                </c:pt>
                <c:pt idx="44">
                  <c:v>271650</c:v>
                </c:pt>
                <c:pt idx="45">
                  <c:v>266549</c:v>
                </c:pt>
                <c:pt idx="46">
                  <c:v>249893</c:v>
                </c:pt>
                <c:pt idx="47">
                  <c:v>261179</c:v>
                </c:pt>
                <c:pt idx="48">
                  <c:v>274113</c:v>
                </c:pt>
                <c:pt idx="49">
                  <c:v>249061</c:v>
                </c:pt>
                <c:pt idx="50">
                  <c:v>258407</c:v>
                </c:pt>
                <c:pt idx="51">
                  <c:v>177998</c:v>
                </c:pt>
                <c:pt idx="52">
                  <c:v>196754</c:v>
                </c:pt>
                <c:pt idx="53">
                  <c:v>189316</c:v>
                </c:pt>
                <c:pt idx="54">
                  <c:v>229287</c:v>
                </c:pt>
                <c:pt idx="55">
                  <c:v>256670</c:v>
                </c:pt>
                <c:pt idx="56">
                  <c:v>239199</c:v>
                </c:pt>
                <c:pt idx="57">
                  <c:v>216428</c:v>
                </c:pt>
                <c:pt idx="58">
                  <c:v>188390</c:v>
                </c:pt>
                <c:pt idx="59">
                  <c:v>184857</c:v>
                </c:pt>
                <c:pt idx="60">
                  <c:v>181616</c:v>
                </c:pt>
                <c:pt idx="61">
                  <c:v>179526</c:v>
                </c:pt>
                <c:pt idx="62">
                  <c:v>186033</c:v>
                </c:pt>
                <c:pt idx="63">
                  <c:v>212554</c:v>
                </c:pt>
                <c:pt idx="64">
                  <c:v>215373</c:v>
                </c:pt>
                <c:pt idx="65">
                  <c:v>218920</c:v>
                </c:pt>
                <c:pt idx="66">
                  <c:v>206896</c:v>
                </c:pt>
                <c:pt idx="67">
                  <c:v>205692</c:v>
                </c:pt>
                <c:pt idx="68">
                  <c:v>204720</c:v>
                </c:pt>
                <c:pt idx="69">
                  <c:v>215373</c:v>
                </c:pt>
                <c:pt idx="70">
                  <c:v>210526</c:v>
                </c:pt>
                <c:pt idx="71">
                  <c:v>203692</c:v>
                </c:pt>
                <c:pt idx="72">
                  <c:v>243060</c:v>
                </c:pt>
                <c:pt idx="73">
                  <c:v>258491</c:v>
                </c:pt>
                <c:pt idx="74">
                  <c:v>276014</c:v>
                </c:pt>
                <c:pt idx="75">
                  <c:v>264105</c:v>
                </c:pt>
                <c:pt idx="76">
                  <c:v>262851</c:v>
                </c:pt>
                <c:pt idx="77">
                  <c:v>262631</c:v>
                </c:pt>
                <c:pt idx="78">
                  <c:v>285612</c:v>
                </c:pt>
                <c:pt idx="79">
                  <c:v>238450</c:v>
                </c:pt>
                <c:pt idx="80">
                  <c:v>225678</c:v>
                </c:pt>
                <c:pt idx="81">
                  <c:v>213900</c:v>
                </c:pt>
                <c:pt idx="82">
                  <c:v>222822</c:v>
                </c:pt>
                <c:pt idx="83">
                  <c:v>252397</c:v>
                </c:pt>
                <c:pt idx="84">
                  <c:v>250937</c:v>
                </c:pt>
                <c:pt idx="85">
                  <c:v>257576</c:v>
                </c:pt>
                <c:pt idx="86">
                  <c:v>247333</c:v>
                </c:pt>
                <c:pt idx="87">
                  <c:v>258329</c:v>
                </c:pt>
                <c:pt idx="88">
                  <c:v>240812</c:v>
                </c:pt>
                <c:pt idx="89">
                  <c:v>244295</c:v>
                </c:pt>
                <c:pt idx="90">
                  <c:v>223708</c:v>
                </c:pt>
                <c:pt idx="91">
                  <c:v>244443</c:v>
                </c:pt>
                <c:pt idx="92">
                  <c:v>204106</c:v>
                </c:pt>
                <c:pt idx="93">
                  <c:v>194732</c:v>
                </c:pt>
                <c:pt idx="94">
                  <c:v>213407</c:v>
                </c:pt>
                <c:pt idx="95">
                  <c:v>236778</c:v>
                </c:pt>
                <c:pt idx="96">
                  <c:v>249752</c:v>
                </c:pt>
                <c:pt idx="97">
                  <c:v>189338</c:v>
                </c:pt>
                <c:pt idx="98">
                  <c:v>73823</c:v>
                </c:pt>
                <c:pt idx="99">
                  <c:v>71145</c:v>
                </c:pt>
                <c:pt idx="100">
                  <c:v>78911</c:v>
                </c:pt>
                <c:pt idx="101">
                  <c:v>74783</c:v>
                </c:pt>
                <c:pt idx="102">
                  <c:v>82178</c:v>
                </c:pt>
                <c:pt idx="103">
                  <c:v>89829</c:v>
                </c:pt>
                <c:pt idx="104">
                  <c:v>69171</c:v>
                </c:pt>
                <c:pt idx="105">
                  <c:v>66863</c:v>
                </c:pt>
                <c:pt idx="106">
                  <c:v>75204</c:v>
                </c:pt>
                <c:pt idx="107">
                  <c:v>7067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347686</c:v>
                </c:pt>
                <c:pt idx="1">
                  <c:v>328961</c:v>
                </c:pt>
                <c:pt idx="2">
                  <c:v>336070</c:v>
                </c:pt>
                <c:pt idx="3">
                  <c:v>305905</c:v>
                </c:pt>
                <c:pt idx="4">
                  <c:v>301756</c:v>
                </c:pt>
                <c:pt idx="5">
                  <c:v>309039</c:v>
                </c:pt>
                <c:pt idx="6">
                  <c:v>301125</c:v>
                </c:pt>
                <c:pt idx="7">
                  <c:v>333853</c:v>
                </c:pt>
                <c:pt idx="8">
                  <c:v>329096</c:v>
                </c:pt>
                <c:pt idx="9">
                  <c:v>306028</c:v>
                </c:pt>
                <c:pt idx="10">
                  <c:v>324580</c:v>
                </c:pt>
                <c:pt idx="11">
                  <c:v>312966</c:v>
                </c:pt>
                <c:pt idx="12">
                  <c:v>297312</c:v>
                </c:pt>
                <c:pt idx="13">
                  <c:v>324298</c:v>
                </c:pt>
                <c:pt idx="14">
                  <c:v>287662</c:v>
                </c:pt>
                <c:pt idx="15">
                  <c:v>321737</c:v>
                </c:pt>
                <c:pt idx="16">
                  <c:v>294148</c:v>
                </c:pt>
                <c:pt idx="17">
                  <c:v>305651</c:v>
                </c:pt>
                <c:pt idx="18">
                  <c:v>285754</c:v>
                </c:pt>
                <c:pt idx="19">
                  <c:v>280971</c:v>
                </c:pt>
                <c:pt idx="20">
                  <c:v>309176</c:v>
                </c:pt>
                <c:pt idx="21">
                  <c:v>311062</c:v>
                </c:pt>
                <c:pt idx="22">
                  <c:v>307892</c:v>
                </c:pt>
                <c:pt idx="23">
                  <c:v>299017</c:v>
                </c:pt>
                <c:pt idx="24">
                  <c:v>295743</c:v>
                </c:pt>
                <c:pt idx="25">
                  <c:v>300834</c:v>
                </c:pt>
                <c:pt idx="26">
                  <c:v>311399</c:v>
                </c:pt>
                <c:pt idx="27">
                  <c:v>306461</c:v>
                </c:pt>
                <c:pt idx="28">
                  <c:v>336259</c:v>
                </c:pt>
                <c:pt idx="29">
                  <c:v>317906</c:v>
                </c:pt>
                <c:pt idx="30">
                  <c:v>334206</c:v>
                </c:pt>
                <c:pt idx="31">
                  <c:v>312076</c:v>
                </c:pt>
                <c:pt idx="32">
                  <c:v>315997</c:v>
                </c:pt>
                <c:pt idx="33">
                  <c:v>308905</c:v>
                </c:pt>
                <c:pt idx="34">
                  <c:v>324358</c:v>
                </c:pt>
                <c:pt idx="35">
                  <c:v>314171</c:v>
                </c:pt>
                <c:pt idx="36">
                  <c:v>292024</c:v>
                </c:pt>
                <c:pt idx="37">
                  <c:v>282607</c:v>
                </c:pt>
                <c:pt idx="38">
                  <c:v>283754</c:v>
                </c:pt>
                <c:pt idx="39">
                  <c:v>297272</c:v>
                </c:pt>
                <c:pt idx="40">
                  <c:v>300693</c:v>
                </c:pt>
                <c:pt idx="41">
                  <c:v>311329</c:v>
                </c:pt>
                <c:pt idx="42">
                  <c:v>309044</c:v>
                </c:pt>
                <c:pt idx="43">
                  <c:v>319206</c:v>
                </c:pt>
                <c:pt idx="44">
                  <c:v>320940</c:v>
                </c:pt>
                <c:pt idx="45">
                  <c:v>322518</c:v>
                </c:pt>
                <c:pt idx="46">
                  <c:v>339729</c:v>
                </c:pt>
                <c:pt idx="47">
                  <c:v>350198</c:v>
                </c:pt>
                <c:pt idx="48">
                  <c:v>389026</c:v>
                </c:pt>
                <c:pt idx="49">
                  <c:v>434966</c:v>
                </c:pt>
                <c:pt idx="50">
                  <c:v>570196</c:v>
                </c:pt>
                <c:pt idx="51">
                  <c:v>478602</c:v>
                </c:pt>
                <c:pt idx="52">
                  <c:v>211291</c:v>
                </c:pt>
                <c:pt idx="53">
                  <c:v>221718</c:v>
                </c:pt>
                <c:pt idx="54">
                  <c:v>246316</c:v>
                </c:pt>
                <c:pt idx="55">
                  <c:v>265286</c:v>
                </c:pt>
                <c:pt idx="56">
                  <c:v>278079</c:v>
                </c:pt>
                <c:pt idx="57">
                  <c:v>287835</c:v>
                </c:pt>
                <c:pt idx="58">
                  <c:v>274295</c:v>
                </c:pt>
                <c:pt idx="59">
                  <c:v>325573</c:v>
                </c:pt>
                <c:pt idx="60">
                  <c:v>305505</c:v>
                </c:pt>
                <c:pt idx="61">
                  <c:v>294113</c:v>
                </c:pt>
                <c:pt idx="62">
                  <c:v>279853</c:v>
                </c:pt>
                <c:pt idx="63">
                  <c:v>289261</c:v>
                </c:pt>
                <c:pt idx="64">
                  <c:v>276036</c:v>
                </c:pt>
                <c:pt idx="65">
                  <c:v>277760</c:v>
                </c:pt>
                <c:pt idx="66">
                  <c:v>265400</c:v>
                </c:pt>
                <c:pt idx="67">
                  <c:v>277178</c:v>
                </c:pt>
                <c:pt idx="68">
                  <c:v>256139</c:v>
                </c:pt>
                <c:pt idx="69">
                  <c:v>268011</c:v>
                </c:pt>
                <c:pt idx="70">
                  <c:v>260600</c:v>
                </c:pt>
                <c:pt idx="71">
                  <c:v>252618</c:v>
                </c:pt>
                <c:pt idx="72">
                  <c:v>278202</c:v>
                </c:pt>
                <c:pt idx="73">
                  <c:v>259008</c:v>
                </c:pt>
                <c:pt idx="74">
                  <c:v>277072</c:v>
                </c:pt>
                <c:pt idx="75">
                  <c:v>264648</c:v>
                </c:pt>
                <c:pt idx="76">
                  <c:v>264517</c:v>
                </c:pt>
                <c:pt idx="77">
                  <c:v>263070</c:v>
                </c:pt>
                <c:pt idx="78">
                  <c:v>287070</c:v>
                </c:pt>
                <c:pt idx="79">
                  <c:v>266036</c:v>
                </c:pt>
                <c:pt idx="80">
                  <c:v>277749</c:v>
                </c:pt>
                <c:pt idx="81">
                  <c:v>267479</c:v>
                </c:pt>
                <c:pt idx="82">
                  <c:v>274744</c:v>
                </c:pt>
                <c:pt idx="83">
                  <c:v>266788</c:v>
                </c:pt>
                <c:pt idx="84">
                  <c:v>262736</c:v>
                </c:pt>
                <c:pt idx="85">
                  <c:v>258460</c:v>
                </c:pt>
                <c:pt idx="86">
                  <c:v>255271</c:v>
                </c:pt>
                <c:pt idx="87">
                  <c:v>259408</c:v>
                </c:pt>
                <c:pt idx="88">
                  <c:v>241950</c:v>
                </c:pt>
                <c:pt idx="89">
                  <c:v>245341</c:v>
                </c:pt>
                <c:pt idx="90">
                  <c:v>237182</c:v>
                </c:pt>
                <c:pt idx="91">
                  <c:v>274408</c:v>
                </c:pt>
                <c:pt idx="92">
                  <c:v>258610</c:v>
                </c:pt>
                <c:pt idx="93">
                  <c:v>277037</c:v>
                </c:pt>
                <c:pt idx="94">
                  <c:v>271775</c:v>
                </c:pt>
                <c:pt idx="95">
                  <c:v>271999</c:v>
                </c:pt>
                <c:pt idx="96">
                  <c:v>294448</c:v>
                </c:pt>
                <c:pt idx="97">
                  <c:v>293194</c:v>
                </c:pt>
                <c:pt idx="98">
                  <c:v>299295</c:v>
                </c:pt>
                <c:pt idx="99">
                  <c:v>331432</c:v>
                </c:pt>
                <c:pt idx="100">
                  <c:v>365602</c:v>
                </c:pt>
                <c:pt idx="101">
                  <c:v>409518</c:v>
                </c:pt>
                <c:pt idx="102">
                  <c:v>524362</c:v>
                </c:pt>
                <c:pt idx="103">
                  <c:v>705841</c:v>
                </c:pt>
                <c:pt idx="104">
                  <c:v>242402</c:v>
                </c:pt>
                <c:pt idx="105">
                  <c:v>219401</c:v>
                </c:pt>
                <c:pt idx="106">
                  <c:v>226360</c:v>
                </c:pt>
                <c:pt idx="107">
                  <c:v>20648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83987</c:v>
                </c:pt>
                <c:pt idx="1">
                  <c:v>285416</c:v>
                </c:pt>
                <c:pt idx="2">
                  <c:v>288066</c:v>
                </c:pt>
                <c:pt idx="3">
                  <c:v>288937</c:v>
                </c:pt>
                <c:pt idx="4">
                  <c:v>291778</c:v>
                </c:pt>
                <c:pt idx="5">
                  <c:v>296278</c:v>
                </c:pt>
                <c:pt idx="6">
                  <c:v>302780</c:v>
                </c:pt>
                <c:pt idx="7">
                  <c:v>314608</c:v>
                </c:pt>
                <c:pt idx="8">
                  <c:v>317624</c:v>
                </c:pt>
                <c:pt idx="9">
                  <c:v>317228</c:v>
                </c:pt>
                <c:pt idx="10">
                  <c:v>313107</c:v>
                </c:pt>
                <c:pt idx="11">
                  <c:v>311041</c:v>
                </c:pt>
                <c:pt idx="12">
                  <c:v>309480</c:v>
                </c:pt>
                <c:pt idx="13">
                  <c:v>306171</c:v>
                </c:pt>
                <c:pt idx="14">
                  <c:v>306972</c:v>
                </c:pt>
                <c:pt idx="15">
                  <c:v>302692</c:v>
                </c:pt>
                <c:pt idx="16">
                  <c:v>298349</c:v>
                </c:pt>
                <c:pt idx="17">
                  <c:v>299781</c:v>
                </c:pt>
                <c:pt idx="18">
                  <c:v>298794</c:v>
                </c:pt>
                <c:pt idx="19">
                  <c:v>301311</c:v>
                </c:pt>
                <c:pt idx="20">
                  <c:v>299132</c:v>
                </c:pt>
                <c:pt idx="21">
                  <c:v>299413</c:v>
                </c:pt>
                <c:pt idx="22">
                  <c:v>298849</c:v>
                </c:pt>
                <c:pt idx="23">
                  <c:v>302048</c:v>
                </c:pt>
                <c:pt idx="24">
                  <c:v>305103</c:v>
                </c:pt>
                <c:pt idx="25">
                  <c:v>308163</c:v>
                </c:pt>
                <c:pt idx="26">
                  <c:v>308629</c:v>
                </c:pt>
                <c:pt idx="27">
                  <c:v>310997</c:v>
                </c:pt>
                <c:pt idx="28">
                  <c:v>313117</c:v>
                </c:pt>
                <c:pt idx="29">
                  <c:v>315311</c:v>
                </c:pt>
                <c:pt idx="30">
                  <c:v>316564</c:v>
                </c:pt>
                <c:pt idx="31">
                  <c:v>317675</c:v>
                </c:pt>
                <c:pt idx="32">
                  <c:v>318758</c:v>
                </c:pt>
                <c:pt idx="33">
                  <c:v>312763</c:v>
                </c:pt>
                <c:pt idx="34">
                  <c:v>309239</c:v>
                </c:pt>
                <c:pt idx="35">
                  <c:v>303425</c:v>
                </c:pt>
                <c:pt idx="36">
                  <c:v>301784</c:v>
                </c:pt>
                <c:pt idx="37">
                  <c:v>297796</c:v>
                </c:pt>
                <c:pt idx="38">
                  <c:v>294273</c:v>
                </c:pt>
                <c:pt idx="39">
                  <c:v>288448</c:v>
                </c:pt>
                <c:pt idx="40">
                  <c:v>302173</c:v>
                </c:pt>
                <c:pt idx="41">
                  <c:v>312698</c:v>
                </c:pt>
                <c:pt idx="42">
                  <c:v>312042</c:v>
                </c:pt>
                <c:pt idx="43">
                  <c:v>313096</c:v>
                </c:pt>
                <c:pt idx="44">
                  <c:v>310897</c:v>
                </c:pt>
                <c:pt idx="45">
                  <c:v>310086</c:v>
                </c:pt>
                <c:pt idx="46">
                  <c:v>311502</c:v>
                </c:pt>
                <c:pt idx="47">
                  <c:v>316835</c:v>
                </c:pt>
                <c:pt idx="48">
                  <c:v>307295</c:v>
                </c:pt>
                <c:pt idx="49">
                  <c:v>296680</c:v>
                </c:pt>
                <c:pt idx="50">
                  <c:v>287825</c:v>
                </c:pt>
                <c:pt idx="51">
                  <c:v>331933</c:v>
                </c:pt>
                <c:pt idx="52">
                  <c:v>304715</c:v>
                </c:pt>
                <c:pt idx="53">
                  <c:v>279304</c:v>
                </c:pt>
                <c:pt idx="54">
                  <c:v>255124</c:v>
                </c:pt>
                <c:pt idx="55">
                  <c:v>240600</c:v>
                </c:pt>
                <c:pt idx="56">
                  <c:v>253491</c:v>
                </c:pt>
                <c:pt idx="57">
                  <c:v>276780</c:v>
                </c:pt>
                <c:pt idx="58">
                  <c:v>282331</c:v>
                </c:pt>
                <c:pt idx="59">
                  <c:v>286559</c:v>
                </c:pt>
                <c:pt idx="60">
                  <c:v>293402</c:v>
                </c:pt>
                <c:pt idx="61">
                  <c:v>293447</c:v>
                </c:pt>
                <c:pt idx="62">
                  <c:v>292281</c:v>
                </c:pt>
                <c:pt idx="63">
                  <c:v>289672</c:v>
                </c:pt>
                <c:pt idx="64">
                  <c:v>285405</c:v>
                </c:pt>
                <c:pt idx="65">
                  <c:v>281615</c:v>
                </c:pt>
                <c:pt idx="66">
                  <c:v>279560</c:v>
                </c:pt>
                <c:pt idx="67">
                  <c:v>273289</c:v>
                </c:pt>
                <c:pt idx="68">
                  <c:v>265449</c:v>
                </c:pt>
                <c:pt idx="69">
                  <c:v>266019</c:v>
                </c:pt>
                <c:pt idx="70">
                  <c:v>263889</c:v>
                </c:pt>
                <c:pt idx="71">
                  <c:v>264354</c:v>
                </c:pt>
                <c:pt idx="72">
                  <c:v>265067</c:v>
                </c:pt>
                <c:pt idx="73">
                  <c:v>265453</c:v>
                </c:pt>
                <c:pt idx="74">
                  <c:v>264807</c:v>
                </c:pt>
                <c:pt idx="75">
                  <c:v>268286</c:v>
                </c:pt>
                <c:pt idx="76">
                  <c:v>269736</c:v>
                </c:pt>
                <c:pt idx="77">
                  <c:v>269926</c:v>
                </c:pt>
                <c:pt idx="78">
                  <c:v>270943</c:v>
                </c:pt>
                <c:pt idx="79">
                  <c:v>270215</c:v>
                </c:pt>
                <c:pt idx="80">
                  <c:v>270542</c:v>
                </c:pt>
                <c:pt idx="81">
                  <c:v>269831</c:v>
                </c:pt>
                <c:pt idx="82">
                  <c:v>270520</c:v>
                </c:pt>
                <c:pt idx="83">
                  <c:v>265918</c:v>
                </c:pt>
                <c:pt idx="84">
                  <c:v>265135</c:v>
                </c:pt>
                <c:pt idx="85">
                  <c:v>261062</c:v>
                </c:pt>
                <c:pt idx="86">
                  <c:v>258202</c:v>
                </c:pt>
                <c:pt idx="87">
                  <c:v>253692</c:v>
                </c:pt>
                <c:pt idx="88">
                  <c:v>254527</c:v>
                </c:pt>
                <c:pt idx="89">
                  <c:v>252951</c:v>
                </c:pt>
                <c:pt idx="90">
                  <c:v>252179</c:v>
                </c:pt>
                <c:pt idx="91">
                  <c:v>251033</c:v>
                </c:pt>
                <c:pt idx="92">
                  <c:v>253250</c:v>
                </c:pt>
                <c:pt idx="93">
                  <c:v>271128</c:v>
                </c:pt>
                <c:pt idx="94">
                  <c:v>277193</c:v>
                </c:pt>
                <c:pt idx="95">
                  <c:v>283822</c:v>
                </c:pt>
                <c:pt idx="96">
                  <c:v>288665</c:v>
                </c:pt>
                <c:pt idx="97">
                  <c:v>296667</c:v>
                </c:pt>
                <c:pt idx="98">
                  <c:v>305689</c:v>
                </c:pt>
                <c:pt idx="99">
                  <c:v>306059</c:v>
                </c:pt>
                <c:pt idx="100">
                  <c:v>313852</c:v>
                </c:pt>
                <c:pt idx="101">
                  <c:v>313201</c:v>
                </c:pt>
                <c:pt idx="102">
                  <c:v>312999</c:v>
                </c:pt>
                <c:pt idx="103">
                  <c:v>310187</c:v>
                </c:pt>
                <c:pt idx="104">
                  <c:v>267096</c:v>
                </c:pt>
                <c:pt idx="105">
                  <c:v>241575</c:v>
                </c:pt>
                <c:pt idx="106">
                  <c:v>246733</c:v>
                </c:pt>
                <c:pt idx="107">
                  <c:v>22942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6</c:v>
                </c:pt>
                <c:pt idx="1">
                  <c:v>0.3</c:v>
                </c:pt>
                <c:pt idx="2">
                  <c:v>0.34</c:v>
                </c:pt>
                <c:pt idx="3">
                  <c:v>0.25</c:v>
                </c:pt>
                <c:pt idx="4">
                  <c:v>0.16</c:v>
                </c:pt>
                <c:pt idx="5">
                  <c:v>0.2</c:v>
                </c:pt>
                <c:pt idx="6">
                  <c:v>0.2</c:v>
                </c:pt>
                <c:pt idx="7">
                  <c:v>0.23</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02</c:v>
                </c:pt>
                <c:pt idx="21">
                  <c:v>0.01</c:v>
                </c:pt>
                <c:pt idx="22">
                  <c:v>0</c:v>
                </c:pt>
                <c:pt idx="23">
                  <c:v>0</c:v>
                </c:pt>
                <c:pt idx="24">
                  <c:v>0</c:v>
                </c:pt>
                <c:pt idx="25">
                  <c:v>0</c:v>
                </c:pt>
                <c:pt idx="26">
                  <c:v>0</c:v>
                </c:pt>
                <c:pt idx="27">
                  <c:v>0.08</c:v>
                </c:pt>
                <c:pt idx="28">
                  <c:v>0.18</c:v>
                </c:pt>
                <c:pt idx="29">
                  <c:v>0.15</c:v>
                </c:pt>
                <c:pt idx="30">
                  <c:v>0.14000000000000001</c:v>
                </c:pt>
                <c:pt idx="31">
                  <c:v>0.13</c:v>
                </c:pt>
                <c:pt idx="32">
                  <c:v>0.13</c:v>
                </c:pt>
                <c:pt idx="33">
                  <c:v>0.14000000000000001</c:v>
                </c:pt>
                <c:pt idx="34">
                  <c:v>0.15</c:v>
                </c:pt>
                <c:pt idx="35">
                  <c:v>0.06</c:v>
                </c:pt>
                <c:pt idx="36">
                  <c:v>0.01</c:v>
                </c:pt>
                <c:pt idx="37">
                  <c:v>0</c:v>
                </c:pt>
                <c:pt idx="38">
                  <c:v>0.06</c:v>
                </c:pt>
                <c:pt idx="39">
                  <c:v>0.11</c:v>
                </c:pt>
                <c:pt idx="40">
                  <c:v>0.24</c:v>
                </c:pt>
                <c:pt idx="41">
                  <c:v>0.27</c:v>
                </c:pt>
                <c:pt idx="42">
                  <c:v>0.26</c:v>
                </c:pt>
                <c:pt idx="43">
                  <c:v>0.24</c:v>
                </c:pt>
                <c:pt idx="44">
                  <c:v>0.15</c:v>
                </c:pt>
                <c:pt idx="45">
                  <c:v>0.17</c:v>
                </c:pt>
                <c:pt idx="46">
                  <c:v>0.26</c:v>
                </c:pt>
                <c:pt idx="47">
                  <c:v>0.25</c:v>
                </c:pt>
                <c:pt idx="48">
                  <c:v>0.28999999999999998</c:v>
                </c:pt>
                <c:pt idx="49">
                  <c:v>0.45</c:v>
                </c:pt>
                <c:pt idx="50">
                  <c:v>0.55000000000000004</c:v>
                </c:pt>
                <c:pt idx="51">
                  <c:v>0.71</c:v>
                </c:pt>
                <c:pt idx="52">
                  <c:v>0.12</c:v>
                </c:pt>
                <c:pt idx="53">
                  <c:v>0.21</c:v>
                </c:pt>
                <c:pt idx="54">
                  <c:v>0.13</c:v>
                </c:pt>
                <c:pt idx="55">
                  <c:v>0.06</c:v>
                </c:pt>
                <c:pt idx="56">
                  <c:v>0.17</c:v>
                </c:pt>
                <c:pt idx="57">
                  <c:v>0.28999999999999998</c:v>
                </c:pt>
                <c:pt idx="58">
                  <c:v>0.35</c:v>
                </c:pt>
                <c:pt idx="59">
                  <c:v>0.48</c:v>
                </c:pt>
                <c:pt idx="60">
                  <c:v>0.45</c:v>
                </c:pt>
                <c:pt idx="61">
                  <c:v>0.43</c:v>
                </c:pt>
                <c:pt idx="62">
                  <c:v>0.36</c:v>
                </c:pt>
                <c:pt idx="63">
                  <c:v>0.28000000000000003</c:v>
                </c:pt>
                <c:pt idx="64">
                  <c:v>0.23</c:v>
                </c:pt>
                <c:pt idx="65">
                  <c:v>0.23</c:v>
                </c:pt>
                <c:pt idx="66">
                  <c:v>0.23</c:v>
                </c:pt>
                <c:pt idx="67">
                  <c:v>0.26</c:v>
                </c:pt>
                <c:pt idx="68">
                  <c:v>0.2</c:v>
                </c:pt>
                <c:pt idx="69">
                  <c:v>0.2</c:v>
                </c:pt>
                <c:pt idx="70">
                  <c:v>0.2</c:v>
                </c:pt>
                <c:pt idx="71">
                  <c:v>0.2</c:v>
                </c:pt>
                <c:pt idx="72">
                  <c:v>0.13</c:v>
                </c:pt>
                <c:pt idx="73">
                  <c:v>0</c:v>
                </c:pt>
                <c:pt idx="74">
                  <c:v>0</c:v>
                </c:pt>
                <c:pt idx="75">
                  <c:v>0</c:v>
                </c:pt>
                <c:pt idx="76">
                  <c:v>0.01</c:v>
                </c:pt>
                <c:pt idx="77">
                  <c:v>0</c:v>
                </c:pt>
                <c:pt idx="78">
                  <c:v>0.01</c:v>
                </c:pt>
                <c:pt idx="79">
                  <c:v>0.12</c:v>
                </c:pt>
                <c:pt idx="80">
                  <c:v>0.21</c:v>
                </c:pt>
                <c:pt idx="81">
                  <c:v>0.22</c:v>
                </c:pt>
                <c:pt idx="82">
                  <c:v>0.2</c:v>
                </c:pt>
                <c:pt idx="83">
                  <c:v>0.06</c:v>
                </c:pt>
                <c:pt idx="84">
                  <c:v>0.05</c:v>
                </c:pt>
                <c:pt idx="85">
                  <c:v>0</c:v>
                </c:pt>
                <c:pt idx="86">
                  <c:v>0.03</c:v>
                </c:pt>
                <c:pt idx="87">
                  <c:v>0</c:v>
                </c:pt>
                <c:pt idx="88">
                  <c:v>0.01</c:v>
                </c:pt>
                <c:pt idx="89">
                  <c:v>0</c:v>
                </c:pt>
                <c:pt idx="90">
                  <c:v>0.06</c:v>
                </c:pt>
                <c:pt idx="91">
                  <c:v>0.12</c:v>
                </c:pt>
                <c:pt idx="92">
                  <c:v>0.24</c:v>
                </c:pt>
                <c:pt idx="93">
                  <c:v>0.31</c:v>
                </c:pt>
                <c:pt idx="94">
                  <c:v>0.2</c:v>
                </c:pt>
                <c:pt idx="95">
                  <c:v>0.11</c:v>
                </c:pt>
                <c:pt idx="96">
                  <c:v>0.12</c:v>
                </c:pt>
                <c:pt idx="97">
                  <c:v>0.35</c:v>
                </c:pt>
                <c:pt idx="98">
                  <c:v>0.8</c:v>
                </c:pt>
                <c:pt idx="99">
                  <c:v>0.82</c:v>
                </c:pt>
                <c:pt idx="100">
                  <c:v>0.82</c:v>
                </c:pt>
                <c:pt idx="101">
                  <c:v>0.85</c:v>
                </c:pt>
                <c:pt idx="102">
                  <c:v>0.87</c:v>
                </c:pt>
                <c:pt idx="103">
                  <c:v>0.91</c:v>
                </c:pt>
                <c:pt idx="104">
                  <c:v>0.8</c:v>
                </c:pt>
                <c:pt idx="105">
                  <c:v>0.78</c:v>
                </c:pt>
                <c:pt idx="106">
                  <c:v>0.75</c:v>
                </c:pt>
                <c:pt idx="107">
                  <c:v>0.7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5</c:v>
                </c:pt>
                <c:pt idx="1">
                  <c:v>289</c:v>
                </c:pt>
                <c:pt idx="2">
                  <c:v>390</c:v>
                </c:pt>
                <c:pt idx="3">
                  <c:v>361</c:v>
                </c:pt>
                <c:pt idx="4">
                  <c:v>346</c:v>
                </c:pt>
                <c:pt idx="5">
                  <c:v>338</c:v>
                </c:pt>
                <c:pt idx="6">
                  <c:v>341</c:v>
                </c:pt>
                <c:pt idx="7">
                  <c:v>223</c:v>
                </c:pt>
                <c:pt idx="8">
                  <c:v>599</c:v>
                </c:pt>
                <c:pt idx="9">
                  <c:v>436</c:v>
                </c:pt>
                <c:pt idx="10">
                  <c:v>349</c:v>
                </c:pt>
                <c:pt idx="11">
                  <c:v>504</c:v>
                </c:pt>
                <c:pt idx="12">
                  <c:v>314</c:v>
                </c:pt>
                <c:pt idx="13">
                  <c:v>194</c:v>
                </c:pt>
                <c:pt idx="14">
                  <c:v>14684</c:v>
                </c:pt>
                <c:pt idx="15">
                  <c:v>13661</c:v>
                </c:pt>
                <c:pt idx="16">
                  <c:v>6327</c:v>
                </c:pt>
                <c:pt idx="17">
                  <c:v>5020</c:v>
                </c:pt>
                <c:pt idx="18">
                  <c:v>3852</c:v>
                </c:pt>
                <c:pt idx="19">
                  <c:v>2665</c:v>
                </c:pt>
                <c:pt idx="20">
                  <c:v>2271</c:v>
                </c:pt>
                <c:pt idx="21">
                  <c:v>1480</c:v>
                </c:pt>
                <c:pt idx="22">
                  <c:v>1853</c:v>
                </c:pt>
                <c:pt idx="23">
                  <c:v>889</c:v>
                </c:pt>
                <c:pt idx="24">
                  <c:v>1166</c:v>
                </c:pt>
                <c:pt idx="25">
                  <c:v>885</c:v>
                </c:pt>
                <c:pt idx="26">
                  <c:v>1300</c:v>
                </c:pt>
                <c:pt idx="27">
                  <c:v>756</c:v>
                </c:pt>
                <c:pt idx="28">
                  <c:v>996</c:v>
                </c:pt>
                <c:pt idx="29">
                  <c:v>1199</c:v>
                </c:pt>
                <c:pt idx="30">
                  <c:v>1116</c:v>
                </c:pt>
                <c:pt idx="31">
                  <c:v>810</c:v>
                </c:pt>
                <c:pt idx="32">
                  <c:v>1144</c:v>
                </c:pt>
                <c:pt idx="33">
                  <c:v>803</c:v>
                </c:pt>
                <c:pt idx="34">
                  <c:v>952</c:v>
                </c:pt>
                <c:pt idx="35">
                  <c:v>650</c:v>
                </c:pt>
                <c:pt idx="36">
                  <c:v>1001</c:v>
                </c:pt>
                <c:pt idx="37">
                  <c:v>835</c:v>
                </c:pt>
                <c:pt idx="38">
                  <c:v>1540</c:v>
                </c:pt>
                <c:pt idx="39">
                  <c:v>2257</c:v>
                </c:pt>
                <c:pt idx="40">
                  <c:v>1749</c:v>
                </c:pt>
                <c:pt idx="41">
                  <c:v>2132</c:v>
                </c:pt>
                <c:pt idx="42">
                  <c:v>2466</c:v>
                </c:pt>
                <c:pt idx="43">
                  <c:v>2394</c:v>
                </c:pt>
                <c:pt idx="44">
                  <c:v>2310</c:v>
                </c:pt>
                <c:pt idx="45">
                  <c:v>2677</c:v>
                </c:pt>
                <c:pt idx="46">
                  <c:v>2687</c:v>
                </c:pt>
                <c:pt idx="47">
                  <c:v>2611</c:v>
                </c:pt>
                <c:pt idx="48">
                  <c:v>3008</c:v>
                </c:pt>
                <c:pt idx="49">
                  <c:v>2530</c:v>
                </c:pt>
                <c:pt idx="50">
                  <c:v>2993</c:v>
                </c:pt>
                <c:pt idx="51">
                  <c:v>2271</c:v>
                </c:pt>
                <c:pt idx="52">
                  <c:v>2349</c:v>
                </c:pt>
                <c:pt idx="53">
                  <c:v>2851</c:v>
                </c:pt>
                <c:pt idx="54">
                  <c:v>2408</c:v>
                </c:pt>
                <c:pt idx="55">
                  <c:v>2376</c:v>
                </c:pt>
                <c:pt idx="56">
                  <c:v>2397</c:v>
                </c:pt>
                <c:pt idx="57">
                  <c:v>2814</c:v>
                </c:pt>
                <c:pt idx="58">
                  <c:v>2078</c:v>
                </c:pt>
                <c:pt idx="59">
                  <c:v>3074</c:v>
                </c:pt>
                <c:pt idx="60">
                  <c:v>2472</c:v>
                </c:pt>
                <c:pt idx="61">
                  <c:v>2591</c:v>
                </c:pt>
                <c:pt idx="62">
                  <c:v>2835</c:v>
                </c:pt>
                <c:pt idx="63">
                  <c:v>2092</c:v>
                </c:pt>
                <c:pt idx="64">
                  <c:v>2509</c:v>
                </c:pt>
                <c:pt idx="65">
                  <c:v>2356</c:v>
                </c:pt>
                <c:pt idx="66">
                  <c:v>2038</c:v>
                </c:pt>
                <c:pt idx="67">
                  <c:v>2512</c:v>
                </c:pt>
                <c:pt idx="68">
                  <c:v>2372</c:v>
                </c:pt>
                <c:pt idx="69">
                  <c:v>2367</c:v>
                </c:pt>
                <c:pt idx="70">
                  <c:v>2430</c:v>
                </c:pt>
                <c:pt idx="71">
                  <c:v>2105</c:v>
                </c:pt>
                <c:pt idx="72">
                  <c:v>2085</c:v>
                </c:pt>
                <c:pt idx="73">
                  <c:v>1972</c:v>
                </c:pt>
                <c:pt idx="74">
                  <c:v>1808</c:v>
                </c:pt>
                <c:pt idx="75">
                  <c:v>2546</c:v>
                </c:pt>
                <c:pt idx="76">
                  <c:v>2288</c:v>
                </c:pt>
                <c:pt idx="77">
                  <c:v>2026</c:v>
                </c:pt>
                <c:pt idx="78">
                  <c:v>2136</c:v>
                </c:pt>
                <c:pt idx="79">
                  <c:v>1847</c:v>
                </c:pt>
                <c:pt idx="80">
                  <c:v>1362</c:v>
                </c:pt>
                <c:pt idx="81">
                  <c:v>1735</c:v>
                </c:pt>
                <c:pt idx="82">
                  <c:v>2050</c:v>
                </c:pt>
                <c:pt idx="83">
                  <c:v>1671</c:v>
                </c:pt>
                <c:pt idx="84">
                  <c:v>1892</c:v>
                </c:pt>
                <c:pt idx="85">
                  <c:v>2134</c:v>
                </c:pt>
                <c:pt idx="86">
                  <c:v>1425</c:v>
                </c:pt>
                <c:pt idx="87">
                  <c:v>2174</c:v>
                </c:pt>
                <c:pt idx="88">
                  <c:v>1788</c:v>
                </c:pt>
                <c:pt idx="89">
                  <c:v>1939</c:v>
                </c:pt>
                <c:pt idx="90">
                  <c:v>2250</c:v>
                </c:pt>
                <c:pt idx="91">
                  <c:v>2119</c:v>
                </c:pt>
                <c:pt idx="92">
                  <c:v>2042</c:v>
                </c:pt>
                <c:pt idx="93">
                  <c:v>2102</c:v>
                </c:pt>
                <c:pt idx="94">
                  <c:v>1469</c:v>
                </c:pt>
                <c:pt idx="95">
                  <c:v>1704</c:v>
                </c:pt>
                <c:pt idx="96">
                  <c:v>1823</c:v>
                </c:pt>
                <c:pt idx="97">
                  <c:v>1615</c:v>
                </c:pt>
                <c:pt idx="98">
                  <c:v>1911</c:v>
                </c:pt>
                <c:pt idx="99">
                  <c:v>1623</c:v>
                </c:pt>
                <c:pt idx="100">
                  <c:v>2014</c:v>
                </c:pt>
                <c:pt idx="101">
                  <c:v>27252</c:v>
                </c:pt>
                <c:pt idx="102">
                  <c:v>36630</c:v>
                </c:pt>
                <c:pt idx="103">
                  <c:v>22209</c:v>
                </c:pt>
                <c:pt idx="104">
                  <c:v>24389</c:v>
                </c:pt>
                <c:pt idx="105">
                  <c:v>13282</c:v>
                </c:pt>
                <c:pt idx="106">
                  <c:v>6388</c:v>
                </c:pt>
                <c:pt idx="107">
                  <c:v>342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7449</c:v>
                </c:pt>
                <c:pt idx="1">
                  <c:v>118580</c:v>
                </c:pt>
                <c:pt idx="2">
                  <c:v>129636</c:v>
                </c:pt>
                <c:pt idx="3">
                  <c:v>132518</c:v>
                </c:pt>
                <c:pt idx="4">
                  <c:v>140432</c:v>
                </c:pt>
                <c:pt idx="5">
                  <c:v>135427</c:v>
                </c:pt>
                <c:pt idx="6">
                  <c:v>121349</c:v>
                </c:pt>
                <c:pt idx="7">
                  <c:v>114058</c:v>
                </c:pt>
                <c:pt idx="8">
                  <c:v>110312</c:v>
                </c:pt>
                <c:pt idx="9">
                  <c:v>105273</c:v>
                </c:pt>
                <c:pt idx="10">
                  <c:v>80831</c:v>
                </c:pt>
                <c:pt idx="11">
                  <c:v>66691</c:v>
                </c:pt>
                <c:pt idx="12">
                  <c:v>52625</c:v>
                </c:pt>
                <c:pt idx="13">
                  <c:v>44976</c:v>
                </c:pt>
                <c:pt idx="14">
                  <c:v>42664</c:v>
                </c:pt>
                <c:pt idx="15">
                  <c:v>114762</c:v>
                </c:pt>
                <c:pt idx="16">
                  <c:v>174796</c:v>
                </c:pt>
                <c:pt idx="17">
                  <c:v>198686</c:v>
                </c:pt>
                <c:pt idx="18">
                  <c:v>192391</c:v>
                </c:pt>
                <c:pt idx="19">
                  <c:v>190386</c:v>
                </c:pt>
                <c:pt idx="20">
                  <c:v>198412</c:v>
                </c:pt>
                <c:pt idx="21">
                  <c:v>210286</c:v>
                </c:pt>
                <c:pt idx="22">
                  <c:v>210302</c:v>
                </c:pt>
                <c:pt idx="23">
                  <c:v>205767</c:v>
                </c:pt>
                <c:pt idx="24">
                  <c:v>201057</c:v>
                </c:pt>
                <c:pt idx="25">
                  <c:v>209287</c:v>
                </c:pt>
                <c:pt idx="26">
                  <c:v>218140</c:v>
                </c:pt>
                <c:pt idx="27">
                  <c:v>214418</c:v>
                </c:pt>
                <c:pt idx="28">
                  <c:v>210161</c:v>
                </c:pt>
                <c:pt idx="29">
                  <c:v>204148</c:v>
                </c:pt>
                <c:pt idx="30">
                  <c:v>225045</c:v>
                </c:pt>
                <c:pt idx="31">
                  <c:v>212382</c:v>
                </c:pt>
                <c:pt idx="32">
                  <c:v>212647</c:v>
                </c:pt>
                <c:pt idx="33">
                  <c:v>207165</c:v>
                </c:pt>
                <c:pt idx="34">
                  <c:v>209386</c:v>
                </c:pt>
                <c:pt idx="35">
                  <c:v>206971</c:v>
                </c:pt>
                <c:pt idx="36">
                  <c:v>191883</c:v>
                </c:pt>
                <c:pt idx="37">
                  <c:v>194408</c:v>
                </c:pt>
                <c:pt idx="38">
                  <c:v>193910</c:v>
                </c:pt>
                <c:pt idx="39">
                  <c:v>202729</c:v>
                </c:pt>
                <c:pt idx="40">
                  <c:v>191891</c:v>
                </c:pt>
                <c:pt idx="41">
                  <c:v>189301</c:v>
                </c:pt>
                <c:pt idx="42">
                  <c:v>190466</c:v>
                </c:pt>
                <c:pt idx="43">
                  <c:v>198310</c:v>
                </c:pt>
                <c:pt idx="44">
                  <c:v>202758</c:v>
                </c:pt>
                <c:pt idx="45">
                  <c:v>191075</c:v>
                </c:pt>
                <c:pt idx="46">
                  <c:v>181374</c:v>
                </c:pt>
                <c:pt idx="47">
                  <c:v>196642</c:v>
                </c:pt>
                <c:pt idx="48">
                  <c:v>206266</c:v>
                </c:pt>
                <c:pt idx="49">
                  <c:v>200213</c:v>
                </c:pt>
                <c:pt idx="50">
                  <c:v>231648</c:v>
                </c:pt>
                <c:pt idx="51">
                  <c:v>179626</c:v>
                </c:pt>
                <c:pt idx="52">
                  <c:v>202782</c:v>
                </c:pt>
                <c:pt idx="53">
                  <c:v>189927</c:v>
                </c:pt>
                <c:pt idx="54">
                  <c:v>175137</c:v>
                </c:pt>
                <c:pt idx="55">
                  <c:v>183408</c:v>
                </c:pt>
                <c:pt idx="56">
                  <c:v>189286</c:v>
                </c:pt>
                <c:pt idx="57">
                  <c:v>189541</c:v>
                </c:pt>
                <c:pt idx="58">
                  <c:v>181663</c:v>
                </c:pt>
                <c:pt idx="59">
                  <c:v>191029</c:v>
                </c:pt>
                <c:pt idx="60">
                  <c:v>199637</c:v>
                </c:pt>
                <c:pt idx="61">
                  <c:v>200806</c:v>
                </c:pt>
                <c:pt idx="62">
                  <c:v>190196</c:v>
                </c:pt>
                <c:pt idx="63">
                  <c:v>181868</c:v>
                </c:pt>
                <c:pt idx="64">
                  <c:v>188596</c:v>
                </c:pt>
                <c:pt idx="65">
                  <c:v>195114</c:v>
                </c:pt>
                <c:pt idx="66">
                  <c:v>193847</c:v>
                </c:pt>
                <c:pt idx="67">
                  <c:v>193715</c:v>
                </c:pt>
                <c:pt idx="68">
                  <c:v>188783</c:v>
                </c:pt>
                <c:pt idx="69">
                  <c:v>203187</c:v>
                </c:pt>
                <c:pt idx="70">
                  <c:v>196298</c:v>
                </c:pt>
                <c:pt idx="71">
                  <c:v>182308</c:v>
                </c:pt>
                <c:pt idx="72">
                  <c:v>194068</c:v>
                </c:pt>
                <c:pt idx="73">
                  <c:v>191023</c:v>
                </c:pt>
                <c:pt idx="74">
                  <c:v>210756</c:v>
                </c:pt>
                <c:pt idx="75">
                  <c:v>195860</c:v>
                </c:pt>
                <c:pt idx="76">
                  <c:v>193696</c:v>
                </c:pt>
                <c:pt idx="77">
                  <c:v>182625</c:v>
                </c:pt>
                <c:pt idx="78">
                  <c:v>188323</c:v>
                </c:pt>
                <c:pt idx="79">
                  <c:v>164174</c:v>
                </c:pt>
                <c:pt idx="80">
                  <c:v>163425</c:v>
                </c:pt>
                <c:pt idx="81">
                  <c:v>174132</c:v>
                </c:pt>
                <c:pt idx="82">
                  <c:v>198568</c:v>
                </c:pt>
                <c:pt idx="83">
                  <c:v>195675</c:v>
                </c:pt>
                <c:pt idx="84">
                  <c:v>197556</c:v>
                </c:pt>
                <c:pt idx="85">
                  <c:v>195046</c:v>
                </c:pt>
                <c:pt idx="86">
                  <c:v>198806</c:v>
                </c:pt>
                <c:pt idx="87">
                  <c:v>199567</c:v>
                </c:pt>
                <c:pt idx="88">
                  <c:v>185792</c:v>
                </c:pt>
                <c:pt idx="89">
                  <c:v>187388</c:v>
                </c:pt>
                <c:pt idx="90">
                  <c:v>181211</c:v>
                </c:pt>
                <c:pt idx="91">
                  <c:v>201713</c:v>
                </c:pt>
                <c:pt idx="92">
                  <c:v>182390</c:v>
                </c:pt>
                <c:pt idx="93">
                  <c:v>187750</c:v>
                </c:pt>
                <c:pt idx="94">
                  <c:v>181232</c:v>
                </c:pt>
                <c:pt idx="95">
                  <c:v>187586</c:v>
                </c:pt>
                <c:pt idx="96">
                  <c:v>193735</c:v>
                </c:pt>
                <c:pt idx="97">
                  <c:v>183629</c:v>
                </c:pt>
                <c:pt idx="98">
                  <c:v>179829</c:v>
                </c:pt>
                <c:pt idx="99">
                  <c:v>166995</c:v>
                </c:pt>
                <c:pt idx="100">
                  <c:v>191063</c:v>
                </c:pt>
                <c:pt idx="101">
                  <c:v>164313</c:v>
                </c:pt>
                <c:pt idx="102">
                  <c:v>156797</c:v>
                </c:pt>
                <c:pt idx="103">
                  <c:v>143184</c:v>
                </c:pt>
                <c:pt idx="104">
                  <c:v>143522</c:v>
                </c:pt>
                <c:pt idx="105">
                  <c:v>130832</c:v>
                </c:pt>
                <c:pt idx="106">
                  <c:v>155921</c:v>
                </c:pt>
                <c:pt idx="107">
                  <c:v>18069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17894</c:v>
                </c:pt>
                <c:pt idx="1">
                  <c:v>118869</c:v>
                </c:pt>
                <c:pt idx="2">
                  <c:v>130026</c:v>
                </c:pt>
                <c:pt idx="3">
                  <c:v>132879</c:v>
                </c:pt>
                <c:pt idx="4">
                  <c:v>140778</c:v>
                </c:pt>
                <c:pt idx="5">
                  <c:v>135765</c:v>
                </c:pt>
                <c:pt idx="6">
                  <c:v>121690</c:v>
                </c:pt>
                <c:pt idx="7">
                  <c:v>114281</c:v>
                </c:pt>
                <c:pt idx="8">
                  <c:v>110911</c:v>
                </c:pt>
                <c:pt idx="9">
                  <c:v>105709</c:v>
                </c:pt>
                <c:pt idx="10">
                  <c:v>81180</c:v>
                </c:pt>
                <c:pt idx="11">
                  <c:v>67195</c:v>
                </c:pt>
                <c:pt idx="12">
                  <c:v>52939</c:v>
                </c:pt>
                <c:pt idx="13">
                  <c:v>45170</c:v>
                </c:pt>
                <c:pt idx="14">
                  <c:v>57348</c:v>
                </c:pt>
                <c:pt idx="15">
                  <c:v>128423</c:v>
                </c:pt>
                <c:pt idx="16">
                  <c:v>181123</c:v>
                </c:pt>
                <c:pt idx="17">
                  <c:v>203706</c:v>
                </c:pt>
                <c:pt idx="18">
                  <c:v>196243</c:v>
                </c:pt>
                <c:pt idx="19">
                  <c:v>193051</c:v>
                </c:pt>
                <c:pt idx="20">
                  <c:v>200683</c:v>
                </c:pt>
                <c:pt idx="21">
                  <c:v>211766</c:v>
                </c:pt>
                <c:pt idx="22">
                  <c:v>212155</c:v>
                </c:pt>
                <c:pt idx="23">
                  <c:v>206656</c:v>
                </c:pt>
                <c:pt idx="24">
                  <c:v>202223</c:v>
                </c:pt>
                <c:pt idx="25">
                  <c:v>210172</c:v>
                </c:pt>
                <c:pt idx="26">
                  <c:v>219440</c:v>
                </c:pt>
                <c:pt idx="27">
                  <c:v>215174</c:v>
                </c:pt>
                <c:pt idx="28">
                  <c:v>211157</c:v>
                </c:pt>
                <c:pt idx="29">
                  <c:v>205347</c:v>
                </c:pt>
                <c:pt idx="30">
                  <c:v>226161</c:v>
                </c:pt>
                <c:pt idx="31">
                  <c:v>213192</c:v>
                </c:pt>
                <c:pt idx="32">
                  <c:v>213791</c:v>
                </c:pt>
                <c:pt idx="33">
                  <c:v>207968</c:v>
                </c:pt>
                <c:pt idx="34">
                  <c:v>210338</c:v>
                </c:pt>
                <c:pt idx="35">
                  <c:v>207621</c:v>
                </c:pt>
                <c:pt idx="36">
                  <c:v>192884</c:v>
                </c:pt>
                <c:pt idx="37">
                  <c:v>195243</c:v>
                </c:pt>
                <c:pt idx="38">
                  <c:v>195450</c:v>
                </c:pt>
                <c:pt idx="39">
                  <c:v>204986</c:v>
                </c:pt>
                <c:pt idx="40">
                  <c:v>193640</c:v>
                </c:pt>
                <c:pt idx="41">
                  <c:v>191433</c:v>
                </c:pt>
                <c:pt idx="42">
                  <c:v>192932</c:v>
                </c:pt>
                <c:pt idx="43">
                  <c:v>200704</c:v>
                </c:pt>
                <c:pt idx="44">
                  <c:v>205068</c:v>
                </c:pt>
                <c:pt idx="45">
                  <c:v>193752</c:v>
                </c:pt>
                <c:pt idx="46">
                  <c:v>184061</c:v>
                </c:pt>
                <c:pt idx="47">
                  <c:v>199253</c:v>
                </c:pt>
                <c:pt idx="48">
                  <c:v>209274</c:v>
                </c:pt>
                <c:pt idx="49">
                  <c:v>202743</c:v>
                </c:pt>
                <c:pt idx="50">
                  <c:v>234641</c:v>
                </c:pt>
                <c:pt idx="51">
                  <c:v>181897</c:v>
                </c:pt>
                <c:pt idx="52">
                  <c:v>205131</c:v>
                </c:pt>
                <c:pt idx="53">
                  <c:v>192778</c:v>
                </c:pt>
                <c:pt idx="54">
                  <c:v>177545</c:v>
                </c:pt>
                <c:pt idx="55">
                  <c:v>185784</c:v>
                </c:pt>
                <c:pt idx="56">
                  <c:v>191683</c:v>
                </c:pt>
                <c:pt idx="57">
                  <c:v>192355</c:v>
                </c:pt>
                <c:pt idx="58">
                  <c:v>183741</c:v>
                </c:pt>
                <c:pt idx="59">
                  <c:v>194103</c:v>
                </c:pt>
                <c:pt idx="60">
                  <c:v>202109</c:v>
                </c:pt>
                <c:pt idx="61">
                  <c:v>203397</c:v>
                </c:pt>
                <c:pt idx="62">
                  <c:v>193031</c:v>
                </c:pt>
                <c:pt idx="63">
                  <c:v>183960</c:v>
                </c:pt>
                <c:pt idx="64">
                  <c:v>191105</c:v>
                </c:pt>
                <c:pt idx="65">
                  <c:v>197470</c:v>
                </c:pt>
                <c:pt idx="66">
                  <c:v>195885</c:v>
                </c:pt>
                <c:pt idx="67">
                  <c:v>196227</c:v>
                </c:pt>
                <c:pt idx="68">
                  <c:v>191155</c:v>
                </c:pt>
                <c:pt idx="69">
                  <c:v>205554</c:v>
                </c:pt>
                <c:pt idx="70">
                  <c:v>198728</c:v>
                </c:pt>
                <c:pt idx="71">
                  <c:v>184413</c:v>
                </c:pt>
                <c:pt idx="72">
                  <c:v>196153</c:v>
                </c:pt>
                <c:pt idx="73">
                  <c:v>192995</c:v>
                </c:pt>
                <c:pt idx="74">
                  <c:v>212564</c:v>
                </c:pt>
                <c:pt idx="75">
                  <c:v>198406</c:v>
                </c:pt>
                <c:pt idx="76">
                  <c:v>195984</c:v>
                </c:pt>
                <c:pt idx="77">
                  <c:v>184651</c:v>
                </c:pt>
                <c:pt idx="78">
                  <c:v>190459</c:v>
                </c:pt>
                <c:pt idx="79">
                  <c:v>166021</c:v>
                </c:pt>
                <c:pt idx="80">
                  <c:v>164787</c:v>
                </c:pt>
                <c:pt idx="81">
                  <c:v>175867</c:v>
                </c:pt>
                <c:pt idx="82">
                  <c:v>200618</c:v>
                </c:pt>
                <c:pt idx="83">
                  <c:v>197346</c:v>
                </c:pt>
                <c:pt idx="84">
                  <c:v>199448</c:v>
                </c:pt>
                <c:pt idx="85">
                  <c:v>197180</c:v>
                </c:pt>
                <c:pt idx="86">
                  <c:v>200231</c:v>
                </c:pt>
                <c:pt idx="87">
                  <c:v>201741</c:v>
                </c:pt>
                <c:pt idx="88">
                  <c:v>187580</c:v>
                </c:pt>
                <c:pt idx="89">
                  <c:v>189327</c:v>
                </c:pt>
                <c:pt idx="90">
                  <c:v>183461</c:v>
                </c:pt>
                <c:pt idx="91">
                  <c:v>203832</c:v>
                </c:pt>
                <c:pt idx="92">
                  <c:v>184432</c:v>
                </c:pt>
                <c:pt idx="93">
                  <c:v>189852</c:v>
                </c:pt>
                <c:pt idx="94">
                  <c:v>182701</c:v>
                </c:pt>
                <c:pt idx="95">
                  <c:v>189290</c:v>
                </c:pt>
                <c:pt idx="96">
                  <c:v>195558</c:v>
                </c:pt>
                <c:pt idx="97">
                  <c:v>185244</c:v>
                </c:pt>
                <c:pt idx="98">
                  <c:v>181740</c:v>
                </c:pt>
                <c:pt idx="99">
                  <c:v>168618</c:v>
                </c:pt>
                <c:pt idx="100">
                  <c:v>193077</c:v>
                </c:pt>
                <c:pt idx="101">
                  <c:v>191565</c:v>
                </c:pt>
                <c:pt idx="102">
                  <c:v>193427</c:v>
                </c:pt>
                <c:pt idx="103">
                  <c:v>165393</c:v>
                </c:pt>
                <c:pt idx="104">
                  <c:v>167911</c:v>
                </c:pt>
                <c:pt idx="105">
                  <c:v>144114</c:v>
                </c:pt>
                <c:pt idx="106">
                  <c:v>162309</c:v>
                </c:pt>
                <c:pt idx="107">
                  <c:v>18411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125147</c:v>
                </c:pt>
                <c:pt idx="1">
                  <c:v>128319</c:v>
                </c:pt>
                <c:pt idx="2">
                  <c:v>129672</c:v>
                </c:pt>
                <c:pt idx="3">
                  <c:v>128565</c:v>
                </c:pt>
                <c:pt idx="4">
                  <c:v>126870</c:v>
                </c:pt>
                <c:pt idx="5">
                  <c:v>125977</c:v>
                </c:pt>
                <c:pt idx="6">
                  <c:v>124398</c:v>
                </c:pt>
                <c:pt idx="7">
                  <c:v>118226</c:v>
                </c:pt>
                <c:pt idx="8">
                  <c:v>109979</c:v>
                </c:pt>
                <c:pt idx="9">
                  <c:v>98939</c:v>
                </c:pt>
                <c:pt idx="10">
                  <c:v>87587</c:v>
                </c:pt>
                <c:pt idx="11">
                  <c:v>77664</c:v>
                </c:pt>
                <c:pt idx="12">
                  <c:v>67250</c:v>
                </c:pt>
                <c:pt idx="13">
                  <c:v>55311</c:v>
                </c:pt>
                <c:pt idx="14">
                  <c:v>167776</c:v>
                </c:pt>
                <c:pt idx="15">
                  <c:v>171512</c:v>
                </c:pt>
                <c:pt idx="16">
                  <c:v>165063</c:v>
                </c:pt>
                <c:pt idx="17">
                  <c:v>168676</c:v>
                </c:pt>
                <c:pt idx="18">
                  <c:v>171362</c:v>
                </c:pt>
                <c:pt idx="19">
                  <c:v>191929</c:v>
                </c:pt>
                <c:pt idx="20">
                  <c:v>202229</c:v>
                </c:pt>
                <c:pt idx="21">
                  <c:v>204241</c:v>
                </c:pt>
                <c:pt idx="22">
                  <c:v>204749</c:v>
                </c:pt>
                <c:pt idx="23">
                  <c:v>207221</c:v>
                </c:pt>
                <c:pt idx="24">
                  <c:v>209139</c:v>
                </c:pt>
                <c:pt idx="25">
                  <c:v>208922</c:v>
                </c:pt>
                <c:pt idx="26">
                  <c:v>210355</c:v>
                </c:pt>
                <c:pt idx="27">
                  <c:v>216087</c:v>
                </c:pt>
                <c:pt idx="28">
                  <c:v>216032</c:v>
                </c:pt>
                <c:pt idx="29">
                  <c:v>216418</c:v>
                </c:pt>
                <c:pt idx="30">
                  <c:v>214947</c:v>
                </c:pt>
                <c:pt idx="31">
                  <c:v>213100</c:v>
                </c:pt>
                <c:pt idx="32">
                  <c:v>212118</c:v>
                </c:pt>
                <c:pt idx="33">
                  <c:v>209810</c:v>
                </c:pt>
                <c:pt idx="34">
                  <c:v>208538</c:v>
                </c:pt>
                <c:pt idx="35">
                  <c:v>204698</c:v>
                </c:pt>
                <c:pt idx="36">
                  <c:v>203684</c:v>
                </c:pt>
                <c:pt idx="37">
                  <c:v>201204</c:v>
                </c:pt>
                <c:pt idx="38">
                  <c:v>199148</c:v>
                </c:pt>
                <c:pt idx="39">
                  <c:v>197030</c:v>
                </c:pt>
                <c:pt idx="40">
                  <c:v>196219</c:v>
                </c:pt>
                <c:pt idx="41">
                  <c:v>197723</c:v>
                </c:pt>
                <c:pt idx="42">
                  <c:v>197565</c:v>
                </c:pt>
                <c:pt idx="43">
                  <c:v>196172</c:v>
                </c:pt>
                <c:pt idx="44">
                  <c:v>195455</c:v>
                </c:pt>
                <c:pt idx="45">
                  <c:v>197410</c:v>
                </c:pt>
                <c:pt idx="46">
                  <c:v>198770</c:v>
                </c:pt>
                <c:pt idx="47">
                  <c:v>204044</c:v>
                </c:pt>
                <c:pt idx="48">
                  <c:v>201673</c:v>
                </c:pt>
                <c:pt idx="49">
                  <c:v>201589</c:v>
                </c:pt>
                <c:pt idx="50">
                  <c:v>201451</c:v>
                </c:pt>
                <c:pt idx="51">
                  <c:v>200619</c:v>
                </c:pt>
                <c:pt idx="52">
                  <c:v>198923</c:v>
                </c:pt>
                <c:pt idx="53">
                  <c:v>196740</c:v>
                </c:pt>
                <c:pt idx="54">
                  <c:v>195482</c:v>
                </c:pt>
                <c:pt idx="55">
                  <c:v>189139</c:v>
                </c:pt>
                <c:pt idx="56">
                  <c:v>190598</c:v>
                </c:pt>
                <c:pt idx="57">
                  <c:v>190223</c:v>
                </c:pt>
                <c:pt idx="58">
                  <c:v>191513</c:v>
                </c:pt>
                <c:pt idx="59">
                  <c:v>193453</c:v>
                </c:pt>
                <c:pt idx="60">
                  <c:v>193234</c:v>
                </c:pt>
                <c:pt idx="61">
                  <c:v>193165</c:v>
                </c:pt>
                <c:pt idx="62">
                  <c:v>193746</c:v>
                </c:pt>
                <c:pt idx="63">
                  <c:v>195256</c:v>
                </c:pt>
                <c:pt idx="64">
                  <c:v>195495</c:v>
                </c:pt>
                <c:pt idx="65">
                  <c:v>194114</c:v>
                </c:pt>
                <c:pt idx="66">
                  <c:v>194422</c:v>
                </c:pt>
                <c:pt idx="67">
                  <c:v>195126</c:v>
                </c:pt>
                <c:pt idx="68">
                  <c:v>195137</c:v>
                </c:pt>
                <c:pt idx="69">
                  <c:v>195752</c:v>
                </c:pt>
                <c:pt idx="70">
                  <c:v>195195</c:v>
                </c:pt>
                <c:pt idx="71">
                  <c:v>197304</c:v>
                </c:pt>
                <c:pt idx="72">
                  <c:v>197640</c:v>
                </c:pt>
                <c:pt idx="73">
                  <c:v>198203</c:v>
                </c:pt>
                <c:pt idx="74">
                  <c:v>195619</c:v>
                </c:pt>
                <c:pt idx="75">
                  <c:v>194589</c:v>
                </c:pt>
                <c:pt idx="76">
                  <c:v>192300</c:v>
                </c:pt>
                <c:pt idx="77">
                  <c:v>188392</c:v>
                </c:pt>
                <c:pt idx="78">
                  <c:v>186255</c:v>
                </c:pt>
                <c:pt idx="79">
                  <c:v>184797</c:v>
                </c:pt>
                <c:pt idx="80">
                  <c:v>184649</c:v>
                </c:pt>
                <c:pt idx="81">
                  <c:v>185046</c:v>
                </c:pt>
                <c:pt idx="82">
                  <c:v>186586</c:v>
                </c:pt>
                <c:pt idx="83">
                  <c:v>187783</c:v>
                </c:pt>
                <c:pt idx="84">
                  <c:v>192276</c:v>
                </c:pt>
                <c:pt idx="85">
                  <c:v>195194</c:v>
                </c:pt>
                <c:pt idx="86">
                  <c:v>196827</c:v>
                </c:pt>
                <c:pt idx="87">
                  <c:v>194640</c:v>
                </c:pt>
                <c:pt idx="88">
                  <c:v>195495</c:v>
                </c:pt>
                <c:pt idx="89">
                  <c:v>193613</c:v>
                </c:pt>
                <c:pt idx="90">
                  <c:v>192711</c:v>
                </c:pt>
                <c:pt idx="91">
                  <c:v>190531</c:v>
                </c:pt>
                <c:pt idx="92">
                  <c:v>188980</c:v>
                </c:pt>
                <c:pt idx="93">
                  <c:v>189942</c:v>
                </c:pt>
                <c:pt idx="94">
                  <c:v>189403</c:v>
                </c:pt>
                <c:pt idx="95">
                  <c:v>189196</c:v>
                </c:pt>
                <c:pt idx="96">
                  <c:v>215641</c:v>
                </c:pt>
                <c:pt idx="97">
                  <c:v>185923</c:v>
                </c:pt>
                <c:pt idx="98">
                  <c:v>185270</c:v>
                </c:pt>
                <c:pt idx="99">
                  <c:v>185891</c:v>
                </c:pt>
                <c:pt idx="100">
                  <c:v>183806</c:v>
                </c:pt>
                <c:pt idx="101">
                  <c:v>184620</c:v>
                </c:pt>
                <c:pt idx="102">
                  <c:v>184167</c:v>
                </c:pt>
                <c:pt idx="103">
                  <c:v>177856</c:v>
                </c:pt>
                <c:pt idx="104">
                  <c:v>177933</c:v>
                </c:pt>
                <c:pt idx="105">
                  <c:v>159972</c:v>
                </c:pt>
                <c:pt idx="106">
                  <c:v>190386</c:v>
                </c:pt>
                <c:pt idx="107">
                  <c:v>18577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c:v>
                </c:pt>
                <c:pt idx="2">
                  <c:v>0</c:v>
                </c:pt>
                <c:pt idx="3">
                  <c:v>0.01</c:v>
                </c:pt>
                <c:pt idx="4">
                  <c:v>0</c:v>
                </c:pt>
                <c:pt idx="5">
                  <c:v>0</c:v>
                </c:pt>
                <c:pt idx="6">
                  <c:v>0</c:v>
                </c:pt>
                <c:pt idx="7">
                  <c:v>0</c:v>
                </c:pt>
                <c:pt idx="8">
                  <c:v>0.01</c:v>
                </c:pt>
                <c:pt idx="9">
                  <c:v>0.01</c:v>
                </c:pt>
                <c:pt idx="10">
                  <c:v>0.01</c:v>
                </c:pt>
                <c:pt idx="11">
                  <c:v>0.01</c:v>
                </c:pt>
                <c:pt idx="12">
                  <c:v>0.01</c:v>
                </c:pt>
                <c:pt idx="13">
                  <c:v>0.01</c:v>
                </c:pt>
                <c:pt idx="14">
                  <c:v>0.46</c:v>
                </c:pt>
                <c:pt idx="15">
                  <c:v>0.28999999999999998</c:v>
                </c:pt>
                <c:pt idx="16">
                  <c:v>0.11</c:v>
                </c:pt>
                <c:pt idx="17">
                  <c:v>0.08</c:v>
                </c:pt>
                <c:pt idx="18">
                  <c:v>0.06</c:v>
                </c:pt>
                <c:pt idx="19">
                  <c:v>0.04</c:v>
                </c:pt>
                <c:pt idx="20">
                  <c:v>0.03</c:v>
                </c:pt>
                <c:pt idx="21">
                  <c:v>0.02</c:v>
                </c:pt>
                <c:pt idx="22">
                  <c:v>0.02</c:v>
                </c:pt>
                <c:pt idx="23">
                  <c:v>0.01</c:v>
                </c:pt>
                <c:pt idx="24">
                  <c:v>0.01</c:v>
                </c:pt>
                <c:pt idx="25">
                  <c:v>0.01</c:v>
                </c:pt>
                <c:pt idx="26">
                  <c:v>0.01</c:v>
                </c:pt>
                <c:pt idx="27">
                  <c:v>0.01</c:v>
                </c:pt>
                <c:pt idx="28">
                  <c:v>0.01</c:v>
                </c:pt>
                <c:pt idx="29">
                  <c:v>0.01</c:v>
                </c:pt>
                <c:pt idx="30">
                  <c:v>0.01</c:v>
                </c:pt>
                <c:pt idx="31">
                  <c:v>0</c:v>
                </c:pt>
                <c:pt idx="32">
                  <c:v>0.01</c:v>
                </c:pt>
                <c:pt idx="33">
                  <c:v>0</c:v>
                </c:pt>
                <c:pt idx="34">
                  <c:v>0</c:v>
                </c:pt>
                <c:pt idx="35">
                  <c:v>0</c:v>
                </c:pt>
                <c:pt idx="36">
                  <c:v>0.01</c:v>
                </c:pt>
                <c:pt idx="37">
                  <c:v>0</c:v>
                </c:pt>
                <c:pt idx="38">
                  <c:v>0.01</c:v>
                </c:pt>
                <c:pt idx="39">
                  <c:v>0.01</c:v>
                </c:pt>
                <c:pt idx="40">
                  <c:v>0.01</c:v>
                </c:pt>
                <c:pt idx="41">
                  <c:v>0.01</c:v>
                </c:pt>
                <c:pt idx="42">
                  <c:v>0.01</c:v>
                </c:pt>
                <c:pt idx="43">
                  <c:v>0.01</c:v>
                </c:pt>
                <c:pt idx="44">
                  <c:v>0.01</c:v>
                </c:pt>
                <c:pt idx="45">
                  <c:v>0.02</c:v>
                </c:pt>
                <c:pt idx="46">
                  <c:v>0.02</c:v>
                </c:pt>
                <c:pt idx="47">
                  <c:v>0.01</c:v>
                </c:pt>
                <c:pt idx="48">
                  <c:v>0.02</c:v>
                </c:pt>
                <c:pt idx="49">
                  <c:v>0.01</c:v>
                </c:pt>
                <c:pt idx="50">
                  <c:v>0.01</c:v>
                </c:pt>
                <c:pt idx="51">
                  <c:v>0.01</c:v>
                </c:pt>
                <c:pt idx="52">
                  <c:v>0.01</c:v>
                </c:pt>
                <c:pt idx="53">
                  <c:v>0.02</c:v>
                </c:pt>
                <c:pt idx="54">
                  <c:v>0.01</c:v>
                </c:pt>
                <c:pt idx="55">
                  <c:v>0.01</c:v>
                </c:pt>
                <c:pt idx="56">
                  <c:v>0.01</c:v>
                </c:pt>
                <c:pt idx="57">
                  <c:v>0.02</c:v>
                </c:pt>
                <c:pt idx="58">
                  <c:v>0.01</c:v>
                </c:pt>
                <c:pt idx="59">
                  <c:v>0.02</c:v>
                </c:pt>
                <c:pt idx="60">
                  <c:v>0.01</c:v>
                </c:pt>
                <c:pt idx="61">
                  <c:v>0.01</c:v>
                </c:pt>
                <c:pt idx="62">
                  <c:v>0.02</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22</c:v>
                </c:pt>
                <c:pt idx="102">
                  <c:v>0.3</c:v>
                </c:pt>
                <c:pt idx="103">
                  <c:v>0.23</c:v>
                </c:pt>
                <c:pt idx="104">
                  <c:v>0.28999999999999998</c:v>
                </c:pt>
                <c:pt idx="105">
                  <c:v>0.23</c:v>
                </c:pt>
                <c:pt idx="106">
                  <c:v>0.1</c:v>
                </c:pt>
                <c:pt idx="107">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293</c:v>
                </c:pt>
                <c:pt idx="1">
                  <c:v>84</c:v>
                </c:pt>
                <c:pt idx="2">
                  <c:v>125</c:v>
                </c:pt>
                <c:pt idx="3">
                  <c:v>134</c:v>
                </c:pt>
                <c:pt idx="4">
                  <c:v>51</c:v>
                </c:pt>
                <c:pt idx="5">
                  <c:v>670</c:v>
                </c:pt>
                <c:pt idx="6">
                  <c:v>606</c:v>
                </c:pt>
                <c:pt idx="7">
                  <c:v>562</c:v>
                </c:pt>
                <c:pt idx="8">
                  <c:v>245</c:v>
                </c:pt>
                <c:pt idx="9">
                  <c:v>402</c:v>
                </c:pt>
                <c:pt idx="10">
                  <c:v>552</c:v>
                </c:pt>
                <c:pt idx="11">
                  <c:v>663</c:v>
                </c:pt>
                <c:pt idx="12">
                  <c:v>885</c:v>
                </c:pt>
                <c:pt idx="13">
                  <c:v>831</c:v>
                </c:pt>
                <c:pt idx="14">
                  <c:v>367</c:v>
                </c:pt>
                <c:pt idx="15">
                  <c:v>764</c:v>
                </c:pt>
                <c:pt idx="16">
                  <c:v>760</c:v>
                </c:pt>
                <c:pt idx="17">
                  <c:v>644</c:v>
                </c:pt>
                <c:pt idx="18">
                  <c:v>551</c:v>
                </c:pt>
                <c:pt idx="19">
                  <c:v>535</c:v>
                </c:pt>
                <c:pt idx="20">
                  <c:v>750</c:v>
                </c:pt>
                <c:pt idx="21">
                  <c:v>371</c:v>
                </c:pt>
                <c:pt idx="22">
                  <c:v>825</c:v>
                </c:pt>
                <c:pt idx="23">
                  <c:v>609</c:v>
                </c:pt>
                <c:pt idx="24">
                  <c:v>390</c:v>
                </c:pt>
                <c:pt idx="25">
                  <c:v>496</c:v>
                </c:pt>
                <c:pt idx="26">
                  <c:v>764</c:v>
                </c:pt>
                <c:pt idx="27">
                  <c:v>553</c:v>
                </c:pt>
                <c:pt idx="28">
                  <c:v>639</c:v>
                </c:pt>
                <c:pt idx="29">
                  <c:v>625</c:v>
                </c:pt>
                <c:pt idx="30">
                  <c:v>603</c:v>
                </c:pt>
                <c:pt idx="31">
                  <c:v>417</c:v>
                </c:pt>
                <c:pt idx="32">
                  <c:v>611</c:v>
                </c:pt>
                <c:pt idx="33">
                  <c:v>481</c:v>
                </c:pt>
                <c:pt idx="34">
                  <c:v>434</c:v>
                </c:pt>
                <c:pt idx="35">
                  <c:v>553</c:v>
                </c:pt>
                <c:pt idx="36">
                  <c:v>717</c:v>
                </c:pt>
                <c:pt idx="37">
                  <c:v>648</c:v>
                </c:pt>
                <c:pt idx="38">
                  <c:v>552</c:v>
                </c:pt>
                <c:pt idx="39">
                  <c:v>861</c:v>
                </c:pt>
                <c:pt idx="40">
                  <c:v>6077</c:v>
                </c:pt>
                <c:pt idx="41">
                  <c:v>10270</c:v>
                </c:pt>
                <c:pt idx="42">
                  <c:v>11807</c:v>
                </c:pt>
                <c:pt idx="43">
                  <c:v>12785</c:v>
                </c:pt>
                <c:pt idx="44">
                  <c:v>16244</c:v>
                </c:pt>
                <c:pt idx="45">
                  <c:v>19851</c:v>
                </c:pt>
                <c:pt idx="46">
                  <c:v>37584</c:v>
                </c:pt>
                <c:pt idx="47">
                  <c:v>35732</c:v>
                </c:pt>
                <c:pt idx="48">
                  <c:v>55479</c:v>
                </c:pt>
                <c:pt idx="49">
                  <c:v>92136</c:v>
                </c:pt>
                <c:pt idx="50">
                  <c:v>224941</c:v>
                </c:pt>
                <c:pt idx="51">
                  <c:v>443320</c:v>
                </c:pt>
                <c:pt idx="52">
                  <c:v>63013</c:v>
                </c:pt>
                <c:pt idx="53">
                  <c:v>10685</c:v>
                </c:pt>
                <c:pt idx="54">
                  <c:v>6231</c:v>
                </c:pt>
                <c:pt idx="55">
                  <c:v>4607</c:v>
                </c:pt>
                <c:pt idx="56">
                  <c:v>2014</c:v>
                </c:pt>
                <c:pt idx="57">
                  <c:v>1555</c:v>
                </c:pt>
                <c:pt idx="58">
                  <c:v>780</c:v>
                </c:pt>
                <c:pt idx="59">
                  <c:v>644</c:v>
                </c:pt>
                <c:pt idx="60">
                  <c:v>533</c:v>
                </c:pt>
                <c:pt idx="61">
                  <c:v>203</c:v>
                </c:pt>
                <c:pt idx="62">
                  <c:v>172</c:v>
                </c:pt>
                <c:pt idx="63">
                  <c:v>381</c:v>
                </c:pt>
                <c:pt idx="64">
                  <c:v>94</c:v>
                </c:pt>
                <c:pt idx="65">
                  <c:v>62</c:v>
                </c:pt>
                <c:pt idx="66">
                  <c:v>65</c:v>
                </c:pt>
                <c:pt idx="67">
                  <c:v>53</c:v>
                </c:pt>
                <c:pt idx="68">
                  <c:v>55</c:v>
                </c:pt>
                <c:pt idx="69">
                  <c:v>13</c:v>
                </c:pt>
                <c:pt idx="70">
                  <c:v>44</c:v>
                </c:pt>
                <c:pt idx="71">
                  <c:v>59</c:v>
                </c:pt>
                <c:pt idx="72">
                  <c:v>74</c:v>
                </c:pt>
                <c:pt idx="73">
                  <c:v>0</c:v>
                </c:pt>
                <c:pt idx="74">
                  <c:v>0</c:v>
                </c:pt>
                <c:pt idx="75">
                  <c:v>50</c:v>
                </c:pt>
                <c:pt idx="76">
                  <c:v>11</c:v>
                </c:pt>
                <c:pt idx="77">
                  <c:v>16</c:v>
                </c:pt>
                <c:pt idx="78">
                  <c:v>39</c:v>
                </c:pt>
                <c:pt idx="79">
                  <c:v>56</c:v>
                </c:pt>
                <c:pt idx="80">
                  <c:v>34</c:v>
                </c:pt>
                <c:pt idx="81">
                  <c:v>12</c:v>
                </c:pt>
                <c:pt idx="82">
                  <c:v>14</c:v>
                </c:pt>
                <c:pt idx="83">
                  <c:v>4</c:v>
                </c:pt>
                <c:pt idx="84">
                  <c:v>0</c:v>
                </c:pt>
                <c:pt idx="85">
                  <c:v>0</c:v>
                </c:pt>
                <c:pt idx="86">
                  <c:v>0</c:v>
                </c:pt>
                <c:pt idx="87">
                  <c:v>8</c:v>
                </c:pt>
                <c:pt idx="88">
                  <c:v>23</c:v>
                </c:pt>
                <c:pt idx="89">
                  <c:v>8</c:v>
                </c:pt>
                <c:pt idx="90">
                  <c:v>19</c:v>
                </c:pt>
                <c:pt idx="91">
                  <c:v>18</c:v>
                </c:pt>
                <c:pt idx="92">
                  <c:v>24</c:v>
                </c:pt>
                <c:pt idx="93">
                  <c:v>3</c:v>
                </c:pt>
                <c:pt idx="94">
                  <c:v>25</c:v>
                </c:pt>
                <c:pt idx="95">
                  <c:v>0</c:v>
                </c:pt>
                <c:pt idx="96">
                  <c:v>24</c:v>
                </c:pt>
                <c:pt idx="97">
                  <c:v>7</c:v>
                </c:pt>
                <c:pt idx="98">
                  <c:v>0</c:v>
                </c:pt>
                <c:pt idx="99">
                  <c:v>0</c:v>
                </c:pt>
                <c:pt idx="100">
                  <c:v>6</c:v>
                </c:pt>
                <c:pt idx="101">
                  <c:v>21</c:v>
                </c:pt>
                <c:pt idx="102">
                  <c:v>0</c:v>
                </c:pt>
                <c:pt idx="103">
                  <c:v>37</c:v>
                </c:pt>
                <c:pt idx="104">
                  <c:v>30</c:v>
                </c:pt>
                <c:pt idx="105">
                  <c:v>55</c:v>
                </c:pt>
                <c:pt idx="106">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705</c:v>
                </c:pt>
                <c:pt idx="1">
                  <c:v>2006</c:v>
                </c:pt>
                <c:pt idx="2">
                  <c:v>5394</c:v>
                </c:pt>
                <c:pt idx="3">
                  <c:v>9748</c:v>
                </c:pt>
                <c:pt idx="4">
                  <c:v>10973</c:v>
                </c:pt>
                <c:pt idx="5">
                  <c:v>11849</c:v>
                </c:pt>
                <c:pt idx="6">
                  <c:v>10461</c:v>
                </c:pt>
                <c:pt idx="7">
                  <c:v>11929</c:v>
                </c:pt>
                <c:pt idx="8">
                  <c:v>14150</c:v>
                </c:pt>
                <c:pt idx="9">
                  <c:v>11898</c:v>
                </c:pt>
                <c:pt idx="10">
                  <c:v>11570</c:v>
                </c:pt>
                <c:pt idx="11">
                  <c:v>11367</c:v>
                </c:pt>
                <c:pt idx="12">
                  <c:v>12267</c:v>
                </c:pt>
                <c:pt idx="13">
                  <c:v>14734</c:v>
                </c:pt>
                <c:pt idx="14">
                  <c:v>15433</c:v>
                </c:pt>
                <c:pt idx="15">
                  <c:v>14592</c:v>
                </c:pt>
                <c:pt idx="16">
                  <c:v>14029</c:v>
                </c:pt>
                <c:pt idx="17">
                  <c:v>15545</c:v>
                </c:pt>
                <c:pt idx="18">
                  <c:v>14226</c:v>
                </c:pt>
                <c:pt idx="19">
                  <c:v>14141</c:v>
                </c:pt>
                <c:pt idx="20">
                  <c:v>14726</c:v>
                </c:pt>
                <c:pt idx="21">
                  <c:v>14504</c:v>
                </c:pt>
                <c:pt idx="22">
                  <c:v>14895</c:v>
                </c:pt>
                <c:pt idx="23">
                  <c:v>15346</c:v>
                </c:pt>
                <c:pt idx="24">
                  <c:v>16426</c:v>
                </c:pt>
                <c:pt idx="25">
                  <c:v>14836</c:v>
                </c:pt>
                <c:pt idx="26">
                  <c:v>15723</c:v>
                </c:pt>
                <c:pt idx="27">
                  <c:v>15047</c:v>
                </c:pt>
                <c:pt idx="28">
                  <c:v>15752</c:v>
                </c:pt>
                <c:pt idx="29">
                  <c:v>14873</c:v>
                </c:pt>
                <c:pt idx="30">
                  <c:v>15776</c:v>
                </c:pt>
                <c:pt idx="31">
                  <c:v>15591</c:v>
                </c:pt>
                <c:pt idx="32">
                  <c:v>16389</c:v>
                </c:pt>
                <c:pt idx="33">
                  <c:v>15795</c:v>
                </c:pt>
                <c:pt idx="34">
                  <c:v>14994</c:v>
                </c:pt>
                <c:pt idx="35">
                  <c:v>13790</c:v>
                </c:pt>
                <c:pt idx="36">
                  <c:v>13515</c:v>
                </c:pt>
                <c:pt idx="37">
                  <c:v>13834</c:v>
                </c:pt>
                <c:pt idx="38">
                  <c:v>13749</c:v>
                </c:pt>
                <c:pt idx="39">
                  <c:v>13916</c:v>
                </c:pt>
                <c:pt idx="40">
                  <c:v>13989</c:v>
                </c:pt>
                <c:pt idx="41">
                  <c:v>13820</c:v>
                </c:pt>
                <c:pt idx="42">
                  <c:v>12798</c:v>
                </c:pt>
                <c:pt idx="43">
                  <c:v>13315</c:v>
                </c:pt>
                <c:pt idx="44">
                  <c:v>13532</c:v>
                </c:pt>
                <c:pt idx="45">
                  <c:v>13095</c:v>
                </c:pt>
                <c:pt idx="46">
                  <c:v>11358</c:v>
                </c:pt>
                <c:pt idx="47">
                  <c:v>12062</c:v>
                </c:pt>
                <c:pt idx="48">
                  <c:v>11413</c:v>
                </c:pt>
                <c:pt idx="49">
                  <c:v>7345</c:v>
                </c:pt>
                <c:pt idx="50">
                  <c:v>5016</c:v>
                </c:pt>
                <c:pt idx="51">
                  <c:v>5398</c:v>
                </c:pt>
                <c:pt idx="52">
                  <c:v>3254</c:v>
                </c:pt>
                <c:pt idx="53">
                  <c:v>1348</c:v>
                </c:pt>
                <c:pt idx="54">
                  <c:v>550</c:v>
                </c:pt>
                <c:pt idx="55">
                  <c:v>220</c:v>
                </c:pt>
                <c:pt idx="56">
                  <c:v>206</c:v>
                </c:pt>
                <c:pt idx="57">
                  <c:v>139</c:v>
                </c:pt>
                <c:pt idx="58">
                  <c:v>190</c:v>
                </c:pt>
                <c:pt idx="59">
                  <c:v>274</c:v>
                </c:pt>
                <c:pt idx="60">
                  <c:v>279</c:v>
                </c:pt>
                <c:pt idx="61">
                  <c:v>258</c:v>
                </c:pt>
                <c:pt idx="62">
                  <c:v>265</c:v>
                </c:pt>
                <c:pt idx="63">
                  <c:v>110</c:v>
                </c:pt>
                <c:pt idx="64">
                  <c:v>262</c:v>
                </c:pt>
                <c:pt idx="65">
                  <c:v>62</c:v>
                </c:pt>
                <c:pt idx="66">
                  <c:v>123</c:v>
                </c:pt>
                <c:pt idx="67">
                  <c:v>101</c:v>
                </c:pt>
                <c:pt idx="68">
                  <c:v>68</c:v>
                </c:pt>
                <c:pt idx="69">
                  <c:v>163</c:v>
                </c:pt>
                <c:pt idx="70">
                  <c:v>74</c:v>
                </c:pt>
                <c:pt idx="71">
                  <c:v>53</c:v>
                </c:pt>
                <c:pt idx="72">
                  <c:v>95</c:v>
                </c:pt>
                <c:pt idx="73">
                  <c:v>105</c:v>
                </c:pt>
                <c:pt idx="74">
                  <c:v>99</c:v>
                </c:pt>
                <c:pt idx="75">
                  <c:v>66</c:v>
                </c:pt>
                <c:pt idx="76">
                  <c:v>50</c:v>
                </c:pt>
                <c:pt idx="77">
                  <c:v>57</c:v>
                </c:pt>
                <c:pt idx="78">
                  <c:v>19</c:v>
                </c:pt>
                <c:pt idx="79">
                  <c:v>24</c:v>
                </c:pt>
                <c:pt idx="80">
                  <c:v>29</c:v>
                </c:pt>
                <c:pt idx="81">
                  <c:v>13</c:v>
                </c:pt>
                <c:pt idx="82">
                  <c:v>22</c:v>
                </c:pt>
                <c:pt idx="83">
                  <c:v>40</c:v>
                </c:pt>
                <c:pt idx="84">
                  <c:v>7</c:v>
                </c:pt>
                <c:pt idx="85">
                  <c:v>54</c:v>
                </c:pt>
                <c:pt idx="86">
                  <c:v>8</c:v>
                </c:pt>
                <c:pt idx="87">
                  <c:v>62</c:v>
                </c:pt>
                <c:pt idx="88">
                  <c:v>58</c:v>
                </c:pt>
                <c:pt idx="89">
                  <c:v>7</c:v>
                </c:pt>
                <c:pt idx="90">
                  <c:v>58</c:v>
                </c:pt>
                <c:pt idx="91">
                  <c:v>2</c:v>
                </c:pt>
                <c:pt idx="92">
                  <c:v>4</c:v>
                </c:pt>
                <c:pt idx="93">
                  <c:v>26</c:v>
                </c:pt>
                <c:pt idx="94">
                  <c:v>12</c:v>
                </c:pt>
                <c:pt idx="95">
                  <c:v>15</c:v>
                </c:pt>
                <c:pt idx="96">
                  <c:v>19</c:v>
                </c:pt>
                <c:pt idx="97">
                  <c:v>42</c:v>
                </c:pt>
                <c:pt idx="98">
                  <c:v>8</c:v>
                </c:pt>
                <c:pt idx="99">
                  <c:v>2</c:v>
                </c:pt>
                <c:pt idx="100">
                  <c:v>46</c:v>
                </c:pt>
                <c:pt idx="101">
                  <c:v>33</c:v>
                </c:pt>
                <c:pt idx="102">
                  <c:v>149</c:v>
                </c:pt>
                <c:pt idx="103">
                  <c:v>348</c:v>
                </c:pt>
                <c:pt idx="104">
                  <c:v>1079</c:v>
                </c:pt>
                <c:pt idx="105">
                  <c:v>5354</c:v>
                </c:pt>
                <c:pt idx="106">
                  <c:v>910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998</c:v>
                </c:pt>
                <c:pt idx="1">
                  <c:v>2090</c:v>
                </c:pt>
                <c:pt idx="2">
                  <c:v>5519</c:v>
                </c:pt>
                <c:pt idx="3">
                  <c:v>9882</c:v>
                </c:pt>
                <c:pt idx="4">
                  <c:v>11024</c:v>
                </c:pt>
                <c:pt idx="5">
                  <c:v>12519</c:v>
                </c:pt>
                <c:pt idx="6">
                  <c:v>11067</c:v>
                </c:pt>
                <c:pt idx="7">
                  <c:v>12491</c:v>
                </c:pt>
                <c:pt idx="8">
                  <c:v>14395</c:v>
                </c:pt>
                <c:pt idx="9">
                  <c:v>12300</c:v>
                </c:pt>
                <c:pt idx="10">
                  <c:v>12122</c:v>
                </c:pt>
                <c:pt idx="11">
                  <c:v>12030</c:v>
                </c:pt>
                <c:pt idx="12">
                  <c:v>13152</c:v>
                </c:pt>
                <c:pt idx="13">
                  <c:v>15565</c:v>
                </c:pt>
                <c:pt idx="14">
                  <c:v>15800</c:v>
                </c:pt>
                <c:pt idx="15">
                  <c:v>15356</c:v>
                </c:pt>
                <c:pt idx="16">
                  <c:v>14789</c:v>
                </c:pt>
                <c:pt idx="17">
                  <c:v>16189</c:v>
                </c:pt>
                <c:pt idx="18">
                  <c:v>14777</c:v>
                </c:pt>
                <c:pt idx="19">
                  <c:v>14676</c:v>
                </c:pt>
                <c:pt idx="20">
                  <c:v>15476</c:v>
                </c:pt>
                <c:pt idx="21">
                  <c:v>14875</c:v>
                </c:pt>
                <c:pt idx="22">
                  <c:v>15720</c:v>
                </c:pt>
                <c:pt idx="23">
                  <c:v>15955</c:v>
                </c:pt>
                <c:pt idx="24">
                  <c:v>16816</c:v>
                </c:pt>
                <c:pt idx="25">
                  <c:v>15332</c:v>
                </c:pt>
                <c:pt idx="26">
                  <c:v>16487</c:v>
                </c:pt>
                <c:pt idx="27">
                  <c:v>15600</c:v>
                </c:pt>
                <c:pt idx="28">
                  <c:v>16391</c:v>
                </c:pt>
                <c:pt idx="29">
                  <c:v>15498</c:v>
                </c:pt>
                <c:pt idx="30">
                  <c:v>16379</c:v>
                </c:pt>
                <c:pt idx="31">
                  <c:v>16008</c:v>
                </c:pt>
                <c:pt idx="32">
                  <c:v>17000</c:v>
                </c:pt>
                <c:pt idx="33">
                  <c:v>16276</c:v>
                </c:pt>
                <c:pt idx="34">
                  <c:v>15428</c:v>
                </c:pt>
                <c:pt idx="35">
                  <c:v>14343</c:v>
                </c:pt>
                <c:pt idx="36">
                  <c:v>14232</c:v>
                </c:pt>
                <c:pt idx="37">
                  <c:v>14482</c:v>
                </c:pt>
                <c:pt idx="38">
                  <c:v>14301</c:v>
                </c:pt>
                <c:pt idx="39">
                  <c:v>14777</c:v>
                </c:pt>
                <c:pt idx="40">
                  <c:v>20066</c:v>
                </c:pt>
                <c:pt idx="41">
                  <c:v>24090</c:v>
                </c:pt>
                <c:pt idx="42">
                  <c:v>24605</c:v>
                </c:pt>
                <c:pt idx="43">
                  <c:v>26100</c:v>
                </c:pt>
                <c:pt idx="44">
                  <c:v>29776</c:v>
                </c:pt>
                <c:pt idx="45">
                  <c:v>32946</c:v>
                </c:pt>
                <c:pt idx="46">
                  <c:v>48942</c:v>
                </c:pt>
                <c:pt idx="47">
                  <c:v>47794</c:v>
                </c:pt>
                <c:pt idx="48">
                  <c:v>66892</c:v>
                </c:pt>
                <c:pt idx="49">
                  <c:v>99481</c:v>
                </c:pt>
                <c:pt idx="50">
                  <c:v>229957</c:v>
                </c:pt>
                <c:pt idx="51">
                  <c:v>448718</c:v>
                </c:pt>
                <c:pt idx="52">
                  <c:v>66267</c:v>
                </c:pt>
                <c:pt idx="53">
                  <c:v>12033</c:v>
                </c:pt>
                <c:pt idx="54">
                  <c:v>6781</c:v>
                </c:pt>
                <c:pt idx="55">
                  <c:v>4827</c:v>
                </c:pt>
                <c:pt idx="56">
                  <c:v>2220</c:v>
                </c:pt>
                <c:pt idx="57">
                  <c:v>1694</c:v>
                </c:pt>
                <c:pt idx="58">
                  <c:v>970</c:v>
                </c:pt>
                <c:pt idx="59">
                  <c:v>918</c:v>
                </c:pt>
                <c:pt idx="60">
                  <c:v>812</c:v>
                </c:pt>
                <c:pt idx="61">
                  <c:v>461</c:v>
                </c:pt>
                <c:pt idx="62">
                  <c:v>437</c:v>
                </c:pt>
                <c:pt idx="63">
                  <c:v>491</c:v>
                </c:pt>
                <c:pt idx="64">
                  <c:v>356</c:v>
                </c:pt>
                <c:pt idx="65">
                  <c:v>124</c:v>
                </c:pt>
                <c:pt idx="66">
                  <c:v>188</c:v>
                </c:pt>
                <c:pt idx="67">
                  <c:v>154</c:v>
                </c:pt>
                <c:pt idx="68">
                  <c:v>123</c:v>
                </c:pt>
                <c:pt idx="69">
                  <c:v>176</c:v>
                </c:pt>
                <c:pt idx="70">
                  <c:v>118</c:v>
                </c:pt>
                <c:pt idx="71">
                  <c:v>112</c:v>
                </c:pt>
                <c:pt idx="72">
                  <c:v>169</c:v>
                </c:pt>
                <c:pt idx="73">
                  <c:v>105</c:v>
                </c:pt>
                <c:pt idx="74">
                  <c:v>99</c:v>
                </c:pt>
                <c:pt idx="75">
                  <c:v>116</c:v>
                </c:pt>
                <c:pt idx="76">
                  <c:v>61</c:v>
                </c:pt>
                <c:pt idx="77">
                  <c:v>73</c:v>
                </c:pt>
                <c:pt idx="78">
                  <c:v>58</c:v>
                </c:pt>
                <c:pt idx="79">
                  <c:v>80</c:v>
                </c:pt>
                <c:pt idx="80">
                  <c:v>63</c:v>
                </c:pt>
                <c:pt idx="81">
                  <c:v>25</c:v>
                </c:pt>
                <c:pt idx="82">
                  <c:v>36</c:v>
                </c:pt>
                <c:pt idx="83">
                  <c:v>44</c:v>
                </c:pt>
                <c:pt idx="84">
                  <c:v>7</c:v>
                </c:pt>
                <c:pt idx="85">
                  <c:v>54</c:v>
                </c:pt>
                <c:pt idx="86">
                  <c:v>8</c:v>
                </c:pt>
                <c:pt idx="87">
                  <c:v>70</c:v>
                </c:pt>
                <c:pt idx="88">
                  <c:v>81</c:v>
                </c:pt>
                <c:pt idx="89">
                  <c:v>15</c:v>
                </c:pt>
                <c:pt idx="90">
                  <c:v>77</c:v>
                </c:pt>
                <c:pt idx="91">
                  <c:v>20</c:v>
                </c:pt>
                <c:pt idx="92">
                  <c:v>28</c:v>
                </c:pt>
                <c:pt idx="93">
                  <c:v>29</c:v>
                </c:pt>
                <c:pt idx="94">
                  <c:v>37</c:v>
                </c:pt>
                <c:pt idx="95">
                  <c:v>15</c:v>
                </c:pt>
                <c:pt idx="96">
                  <c:v>43</c:v>
                </c:pt>
                <c:pt idx="97">
                  <c:v>49</c:v>
                </c:pt>
                <c:pt idx="98">
                  <c:v>8</c:v>
                </c:pt>
                <c:pt idx="99">
                  <c:v>2</c:v>
                </c:pt>
                <c:pt idx="100">
                  <c:v>52</c:v>
                </c:pt>
                <c:pt idx="101">
                  <c:v>54</c:v>
                </c:pt>
                <c:pt idx="102">
                  <c:v>149</c:v>
                </c:pt>
                <c:pt idx="103">
                  <c:v>385</c:v>
                </c:pt>
                <c:pt idx="104">
                  <c:v>1109</c:v>
                </c:pt>
                <c:pt idx="105">
                  <c:v>5409</c:v>
                </c:pt>
                <c:pt idx="106">
                  <c:v>918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4208</c:v>
                </c:pt>
                <c:pt idx="1">
                  <c:v>5763</c:v>
                </c:pt>
                <c:pt idx="2">
                  <c:v>7007</c:v>
                </c:pt>
                <c:pt idx="3">
                  <c:v>7636</c:v>
                </c:pt>
                <c:pt idx="4">
                  <c:v>8330</c:v>
                </c:pt>
                <c:pt idx="5">
                  <c:v>9981</c:v>
                </c:pt>
                <c:pt idx="6">
                  <c:v>11401</c:v>
                </c:pt>
                <c:pt idx="7">
                  <c:v>12276</c:v>
                </c:pt>
                <c:pt idx="8">
                  <c:v>12569</c:v>
                </c:pt>
                <c:pt idx="9">
                  <c:v>12829</c:v>
                </c:pt>
                <c:pt idx="10">
                  <c:v>13068</c:v>
                </c:pt>
                <c:pt idx="11">
                  <c:v>13826</c:v>
                </c:pt>
                <c:pt idx="12">
                  <c:v>14181</c:v>
                </c:pt>
                <c:pt idx="13">
                  <c:v>14260</c:v>
                </c:pt>
                <c:pt idx="14">
                  <c:v>14728</c:v>
                </c:pt>
                <c:pt idx="15">
                  <c:v>14996</c:v>
                </c:pt>
                <c:pt idx="16">
                  <c:v>15263</c:v>
                </c:pt>
                <c:pt idx="17">
                  <c:v>15549</c:v>
                </c:pt>
                <c:pt idx="18">
                  <c:v>15389</c:v>
                </c:pt>
                <c:pt idx="19">
                  <c:v>15212</c:v>
                </c:pt>
                <c:pt idx="20">
                  <c:v>15693</c:v>
                </c:pt>
                <c:pt idx="21">
                  <c:v>15760</c:v>
                </c:pt>
                <c:pt idx="22">
                  <c:v>15783</c:v>
                </c:pt>
                <c:pt idx="23">
                  <c:v>15963</c:v>
                </c:pt>
                <c:pt idx="24">
                  <c:v>15943</c:v>
                </c:pt>
                <c:pt idx="25">
                  <c:v>16202</c:v>
                </c:pt>
                <c:pt idx="26">
                  <c:v>16344</c:v>
                </c:pt>
                <c:pt idx="27">
                  <c:v>16387</c:v>
                </c:pt>
                <c:pt idx="28">
                  <c:v>16412</c:v>
                </c:pt>
                <c:pt idx="29">
                  <c:v>16242</c:v>
                </c:pt>
                <c:pt idx="30">
                  <c:v>16430</c:v>
                </c:pt>
                <c:pt idx="31">
                  <c:v>16269</c:v>
                </c:pt>
                <c:pt idx="32">
                  <c:v>16140</c:v>
                </c:pt>
                <c:pt idx="33">
                  <c:v>15758</c:v>
                </c:pt>
                <c:pt idx="34">
                  <c:v>15474</c:v>
                </c:pt>
                <c:pt idx="35">
                  <c:v>15343</c:v>
                </c:pt>
                <c:pt idx="36">
                  <c:v>15141</c:v>
                </c:pt>
                <c:pt idx="37">
                  <c:v>14855</c:v>
                </c:pt>
                <c:pt idx="38">
                  <c:v>14699</c:v>
                </c:pt>
                <c:pt idx="39">
                  <c:v>14603</c:v>
                </c:pt>
                <c:pt idx="40">
                  <c:v>19874</c:v>
                </c:pt>
                <c:pt idx="41">
                  <c:v>23840</c:v>
                </c:pt>
                <c:pt idx="42">
                  <c:v>25281</c:v>
                </c:pt>
                <c:pt idx="43">
                  <c:v>26514</c:v>
                </c:pt>
                <c:pt idx="44">
                  <c:v>29727</c:v>
                </c:pt>
                <c:pt idx="45">
                  <c:v>32880</c:v>
                </c:pt>
                <c:pt idx="46">
                  <c:v>42311</c:v>
                </c:pt>
                <c:pt idx="47">
                  <c:v>41634</c:v>
                </c:pt>
                <c:pt idx="48">
                  <c:v>46013</c:v>
                </c:pt>
                <c:pt idx="49">
                  <c:v>45958</c:v>
                </c:pt>
                <c:pt idx="50">
                  <c:v>46302</c:v>
                </c:pt>
                <c:pt idx="51">
                  <c:v>45018</c:v>
                </c:pt>
                <c:pt idx="52">
                  <c:v>42133</c:v>
                </c:pt>
                <c:pt idx="53">
                  <c:v>21948</c:v>
                </c:pt>
                <c:pt idx="54">
                  <c:v>11672</c:v>
                </c:pt>
                <c:pt idx="55">
                  <c:v>9077</c:v>
                </c:pt>
                <c:pt idx="56">
                  <c:v>6653</c:v>
                </c:pt>
                <c:pt idx="57">
                  <c:v>6634</c:v>
                </c:pt>
                <c:pt idx="58">
                  <c:v>3148</c:v>
                </c:pt>
                <c:pt idx="59">
                  <c:v>3523</c:v>
                </c:pt>
                <c:pt idx="60">
                  <c:v>2583</c:v>
                </c:pt>
                <c:pt idx="61">
                  <c:v>1147</c:v>
                </c:pt>
                <c:pt idx="62">
                  <c:v>689</c:v>
                </c:pt>
                <c:pt idx="63">
                  <c:v>852</c:v>
                </c:pt>
                <c:pt idx="64">
                  <c:v>389</c:v>
                </c:pt>
                <c:pt idx="65">
                  <c:v>250</c:v>
                </c:pt>
                <c:pt idx="66">
                  <c:v>234</c:v>
                </c:pt>
                <c:pt idx="67">
                  <c:v>239</c:v>
                </c:pt>
                <c:pt idx="68">
                  <c:v>146</c:v>
                </c:pt>
                <c:pt idx="69">
                  <c:v>154</c:v>
                </c:pt>
                <c:pt idx="70">
                  <c:v>224</c:v>
                </c:pt>
                <c:pt idx="71">
                  <c:v>140</c:v>
                </c:pt>
                <c:pt idx="72">
                  <c:v>116</c:v>
                </c:pt>
                <c:pt idx="73">
                  <c:v>109</c:v>
                </c:pt>
                <c:pt idx="74">
                  <c:v>93</c:v>
                </c:pt>
                <c:pt idx="75">
                  <c:v>79</c:v>
                </c:pt>
                <c:pt idx="76">
                  <c:v>92</c:v>
                </c:pt>
                <c:pt idx="77">
                  <c:v>63</c:v>
                </c:pt>
                <c:pt idx="78">
                  <c:v>66</c:v>
                </c:pt>
                <c:pt idx="79">
                  <c:v>49</c:v>
                </c:pt>
                <c:pt idx="80">
                  <c:v>69</c:v>
                </c:pt>
                <c:pt idx="81">
                  <c:v>48</c:v>
                </c:pt>
                <c:pt idx="82">
                  <c:v>45</c:v>
                </c:pt>
                <c:pt idx="83">
                  <c:v>49</c:v>
                </c:pt>
                <c:pt idx="84">
                  <c:v>35</c:v>
                </c:pt>
                <c:pt idx="85">
                  <c:v>37</c:v>
                </c:pt>
                <c:pt idx="86">
                  <c:v>36</c:v>
                </c:pt>
                <c:pt idx="87">
                  <c:v>45</c:v>
                </c:pt>
                <c:pt idx="88">
                  <c:v>82</c:v>
                </c:pt>
                <c:pt idx="89">
                  <c:v>47</c:v>
                </c:pt>
                <c:pt idx="90">
                  <c:v>91</c:v>
                </c:pt>
                <c:pt idx="91">
                  <c:v>30</c:v>
                </c:pt>
                <c:pt idx="92">
                  <c:v>62</c:v>
                </c:pt>
                <c:pt idx="93">
                  <c:v>30</c:v>
                </c:pt>
                <c:pt idx="94">
                  <c:v>46</c:v>
                </c:pt>
                <c:pt idx="95">
                  <c:v>47</c:v>
                </c:pt>
                <c:pt idx="96">
                  <c:v>127</c:v>
                </c:pt>
                <c:pt idx="97">
                  <c:v>66</c:v>
                </c:pt>
                <c:pt idx="98">
                  <c:v>53</c:v>
                </c:pt>
                <c:pt idx="99">
                  <c:v>54</c:v>
                </c:pt>
                <c:pt idx="100">
                  <c:v>74</c:v>
                </c:pt>
                <c:pt idx="101">
                  <c:v>289</c:v>
                </c:pt>
                <c:pt idx="102">
                  <c:v>1017</c:v>
                </c:pt>
                <c:pt idx="103">
                  <c:v>2341</c:v>
                </c:pt>
                <c:pt idx="104">
                  <c:v>3898</c:v>
                </c:pt>
                <c:pt idx="105">
                  <c:v>5502</c:v>
                </c:pt>
                <c:pt idx="106">
                  <c:v>725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31</c:v>
                </c:pt>
                <c:pt idx="1">
                  <c:v>0.04</c:v>
                </c:pt>
                <c:pt idx="2">
                  <c:v>0.04</c:v>
                </c:pt>
                <c:pt idx="3">
                  <c:v>0.02</c:v>
                </c:pt>
                <c:pt idx="4">
                  <c:v>0.01</c:v>
                </c:pt>
                <c:pt idx="5">
                  <c:v>0.05</c:v>
                </c:pt>
                <c:pt idx="6">
                  <c:v>0.09</c:v>
                </c:pt>
                <c:pt idx="7">
                  <c:v>0.09</c:v>
                </c:pt>
                <c:pt idx="8">
                  <c:v>0.03</c:v>
                </c:pt>
                <c:pt idx="9">
                  <c:v>0.06</c:v>
                </c:pt>
                <c:pt idx="10">
                  <c:v>0.08</c:v>
                </c:pt>
                <c:pt idx="11">
                  <c:v>0.08</c:v>
                </c:pt>
                <c:pt idx="12">
                  <c:v>0.09</c:v>
                </c:pt>
                <c:pt idx="13">
                  <c:v>0.08</c:v>
                </c:pt>
                <c:pt idx="14">
                  <c:v>0.04</c:v>
                </c:pt>
                <c:pt idx="15">
                  <c:v>7.0000000000000007E-2</c:v>
                </c:pt>
                <c:pt idx="16">
                  <c:v>0.06</c:v>
                </c:pt>
                <c:pt idx="17">
                  <c:v>7.0000000000000007E-2</c:v>
                </c:pt>
                <c:pt idx="18">
                  <c:v>7.0000000000000007E-2</c:v>
                </c:pt>
                <c:pt idx="19">
                  <c:v>0.06</c:v>
                </c:pt>
                <c:pt idx="20">
                  <c:v>0.08</c:v>
                </c:pt>
                <c:pt idx="21">
                  <c:v>0.05</c:v>
                </c:pt>
                <c:pt idx="22">
                  <c:v>0.08</c:v>
                </c:pt>
                <c:pt idx="23">
                  <c:v>0.08</c:v>
                </c:pt>
                <c:pt idx="24">
                  <c:v>0.06</c:v>
                </c:pt>
                <c:pt idx="25">
                  <c:v>7.0000000000000007E-2</c:v>
                </c:pt>
                <c:pt idx="26">
                  <c:v>0.09</c:v>
                </c:pt>
                <c:pt idx="27">
                  <c:v>0.06</c:v>
                </c:pt>
                <c:pt idx="28">
                  <c:v>0.06</c:v>
                </c:pt>
                <c:pt idx="29">
                  <c:v>0.06</c:v>
                </c:pt>
                <c:pt idx="30">
                  <c:v>0.04</c:v>
                </c:pt>
                <c:pt idx="31">
                  <c:v>0.05</c:v>
                </c:pt>
                <c:pt idx="32">
                  <c:v>0.05</c:v>
                </c:pt>
                <c:pt idx="33">
                  <c:v>0.03</c:v>
                </c:pt>
                <c:pt idx="34">
                  <c:v>0.03</c:v>
                </c:pt>
                <c:pt idx="35">
                  <c:v>0.04</c:v>
                </c:pt>
                <c:pt idx="36">
                  <c:v>0.06</c:v>
                </c:pt>
                <c:pt idx="37">
                  <c:v>7.0000000000000007E-2</c:v>
                </c:pt>
                <c:pt idx="38">
                  <c:v>0.05</c:v>
                </c:pt>
                <c:pt idx="39">
                  <c:v>7.0000000000000007E-2</c:v>
                </c:pt>
                <c:pt idx="40">
                  <c:v>0.26</c:v>
                </c:pt>
                <c:pt idx="41">
                  <c:v>0.37</c:v>
                </c:pt>
                <c:pt idx="42">
                  <c:v>0.42</c:v>
                </c:pt>
                <c:pt idx="43">
                  <c:v>0.41</c:v>
                </c:pt>
                <c:pt idx="44">
                  <c:v>0.47</c:v>
                </c:pt>
                <c:pt idx="45">
                  <c:v>0.53</c:v>
                </c:pt>
                <c:pt idx="46">
                  <c:v>0.7</c:v>
                </c:pt>
                <c:pt idx="47">
                  <c:v>0.68</c:v>
                </c:pt>
                <c:pt idx="48">
                  <c:v>0.77</c:v>
                </c:pt>
                <c:pt idx="49">
                  <c:v>0.9</c:v>
                </c:pt>
                <c:pt idx="50">
                  <c:v>0.97</c:v>
                </c:pt>
                <c:pt idx="51">
                  <c:v>0.99</c:v>
                </c:pt>
                <c:pt idx="52">
                  <c:v>0.99</c:v>
                </c:pt>
                <c:pt idx="53">
                  <c:v>0.92</c:v>
                </c:pt>
                <c:pt idx="54">
                  <c:v>0.94</c:v>
                </c:pt>
                <c:pt idx="55">
                  <c:v>0.97</c:v>
                </c:pt>
                <c:pt idx="56">
                  <c:v>0.94</c:v>
                </c:pt>
                <c:pt idx="57">
                  <c:v>0.95</c:v>
                </c:pt>
                <c:pt idx="58">
                  <c:v>0.84</c:v>
                </c:pt>
                <c:pt idx="59">
                  <c:v>0.81</c:v>
                </c:pt>
                <c:pt idx="60">
                  <c:v>0.73</c:v>
                </c:pt>
                <c:pt idx="61">
                  <c:v>0.48</c:v>
                </c:pt>
                <c:pt idx="62">
                  <c:v>0.44</c:v>
                </c:pt>
                <c:pt idx="63">
                  <c:v>0.79</c:v>
                </c:pt>
                <c:pt idx="64">
                  <c:v>0.39</c:v>
                </c:pt>
                <c:pt idx="65">
                  <c:v>0.4</c:v>
                </c:pt>
                <c:pt idx="66">
                  <c:v>0.3</c:v>
                </c:pt>
                <c:pt idx="67">
                  <c:v>0.28999999999999998</c:v>
                </c:pt>
                <c:pt idx="68">
                  <c:v>0.52</c:v>
                </c:pt>
                <c:pt idx="69">
                  <c:v>0.13</c:v>
                </c:pt>
                <c:pt idx="70">
                  <c:v>0.38</c:v>
                </c:pt>
                <c:pt idx="71">
                  <c:v>0.5</c:v>
                </c:pt>
                <c:pt idx="72">
                  <c:v>0.48</c:v>
                </c:pt>
                <c:pt idx="73">
                  <c:v>0</c:v>
                </c:pt>
                <c:pt idx="74">
                  <c:v>0</c:v>
                </c:pt>
                <c:pt idx="75">
                  <c:v>0.57999999999999996</c:v>
                </c:pt>
                <c:pt idx="76">
                  <c:v>0.26</c:v>
                </c:pt>
                <c:pt idx="77">
                  <c:v>0.3</c:v>
                </c:pt>
                <c:pt idx="78">
                  <c:v>0.68</c:v>
                </c:pt>
                <c:pt idx="79">
                  <c:v>0.84</c:v>
                </c:pt>
                <c:pt idx="80">
                  <c:v>0.78</c:v>
                </c:pt>
                <c:pt idx="81">
                  <c:v>0.38</c:v>
                </c:pt>
                <c:pt idx="82">
                  <c:v>0.33</c:v>
                </c:pt>
                <c:pt idx="83">
                  <c:v>0.28999999999999998</c:v>
                </c:pt>
                <c:pt idx="84">
                  <c:v>0</c:v>
                </c:pt>
                <c:pt idx="85">
                  <c:v>0</c:v>
                </c:pt>
                <c:pt idx="86">
                  <c:v>0</c:v>
                </c:pt>
                <c:pt idx="87">
                  <c:v>0.04</c:v>
                </c:pt>
                <c:pt idx="88">
                  <c:v>0.15</c:v>
                </c:pt>
                <c:pt idx="89">
                  <c:v>0.14000000000000001</c:v>
                </c:pt>
                <c:pt idx="90">
                  <c:v>0.56999999999999995</c:v>
                </c:pt>
                <c:pt idx="91">
                  <c:v>0.5</c:v>
                </c:pt>
                <c:pt idx="92">
                  <c:v>0.83</c:v>
                </c:pt>
                <c:pt idx="93">
                  <c:v>0.2</c:v>
                </c:pt>
                <c:pt idx="94">
                  <c:v>0.78</c:v>
                </c:pt>
                <c:pt idx="95">
                  <c:v>0</c:v>
                </c:pt>
                <c:pt idx="96">
                  <c:v>0.67</c:v>
                </c:pt>
                <c:pt idx="97">
                  <c:v>0.08</c:v>
                </c:pt>
                <c:pt idx="98">
                  <c:v>0</c:v>
                </c:pt>
                <c:pt idx="99">
                  <c:v>0</c:v>
                </c:pt>
                <c:pt idx="100">
                  <c:v>0.2</c:v>
                </c:pt>
                <c:pt idx="101">
                  <c:v>0.5</c:v>
                </c:pt>
                <c:pt idx="102">
                  <c:v>0</c:v>
                </c:pt>
                <c:pt idx="103">
                  <c:v>0.11</c:v>
                </c:pt>
                <c:pt idx="104">
                  <c:v>0.02</c:v>
                </c:pt>
                <c:pt idx="105">
                  <c:v>0.01</c:v>
                </c:pt>
                <c:pt idx="106">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6</c:v>
                </c:pt>
                <c:pt idx="49">
                  <c:v>374213</c:v>
                </c:pt>
                <c:pt idx="50">
                  <c:v>415302</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50</c:v>
                </c:pt>
                <c:pt idx="72">
                  <c:v>303601</c:v>
                </c:pt>
                <c:pt idx="73">
                  <c:v>351703</c:v>
                </c:pt>
                <c:pt idx="74">
                  <c:v>382362</c:v>
                </c:pt>
                <c:pt idx="75">
                  <c:v>356831</c:v>
                </c:pt>
                <c:pt idx="76">
                  <c:v>355925</c:v>
                </c:pt>
                <c:pt idx="77">
                  <c:v>353581</c:v>
                </c:pt>
                <c:pt idx="78">
                  <c:v>380620</c:v>
                </c:pt>
                <c:pt idx="79">
                  <c:v>353302</c:v>
                </c:pt>
                <c:pt idx="80">
                  <c:v>349918</c:v>
                </c:pt>
                <c:pt idx="81">
                  <c:v>347994</c:v>
                </c:pt>
                <c:pt idx="82">
                  <c:v>363801</c:v>
                </c:pt>
                <c:pt idx="83">
                  <c:v>358383</c:v>
                </c:pt>
                <c:pt idx="84">
                  <c:v>354662</c:v>
                </c:pt>
                <c:pt idx="85">
                  <c:v>350665</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9</c:v>
                </c:pt>
                <c:pt idx="49">
                  <c:v>535762</c:v>
                </c:pt>
                <c:pt idx="50">
                  <c:v>692362</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50</c:v>
                </c:pt>
                <c:pt idx="72">
                  <c:v>389692</c:v>
                </c:pt>
                <c:pt idx="73">
                  <c:v>352332</c:v>
                </c:pt>
                <c:pt idx="74">
                  <c:v>383245</c:v>
                </c:pt>
                <c:pt idx="75">
                  <c:v>357924</c:v>
                </c:pt>
                <c:pt idx="76">
                  <c:v>357699</c:v>
                </c:pt>
                <c:pt idx="77">
                  <c:v>354305</c:v>
                </c:pt>
                <c:pt idx="78">
                  <c:v>382215</c:v>
                </c:pt>
                <c:pt idx="79">
                  <c:v>354610</c:v>
                </c:pt>
                <c:pt idx="80">
                  <c:v>351091</c:v>
                </c:pt>
                <c:pt idx="81">
                  <c:v>349183</c:v>
                </c:pt>
                <c:pt idx="82">
                  <c:v>364818</c:v>
                </c:pt>
                <c:pt idx="83">
                  <c:v>359414</c:v>
                </c:pt>
                <c:pt idx="84">
                  <c:v>356631</c:v>
                </c:pt>
                <c:pt idx="85">
                  <c:v>351352</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11</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6</c:v>
                </c:pt>
                <c:pt idx="19">
                  <c:v>384792</c:v>
                </c:pt>
                <c:pt idx="20">
                  <c:v>383938</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4</c:v>
                </c:pt>
                <c:pt idx="49">
                  <c:v>406878</c:v>
                </c:pt>
                <c:pt idx="50">
                  <c:v>401230</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5</c:v>
                </c:pt>
                <c:pt idx="72">
                  <c:v>364699</c:v>
                </c:pt>
                <c:pt idx="73">
                  <c:v>364327</c:v>
                </c:pt>
                <c:pt idx="74">
                  <c:v>362717</c:v>
                </c:pt>
                <c:pt idx="75">
                  <c:v>365331</c:v>
                </c:pt>
                <c:pt idx="76">
                  <c:v>366152</c:v>
                </c:pt>
                <c:pt idx="77">
                  <c:v>361971</c:v>
                </c:pt>
                <c:pt idx="78">
                  <c:v>361519</c:v>
                </c:pt>
                <c:pt idx="79">
                  <c:v>359216</c:v>
                </c:pt>
                <c:pt idx="80">
                  <c:v>359388</c:v>
                </c:pt>
                <c:pt idx="81">
                  <c:v>359259</c:v>
                </c:pt>
                <c:pt idx="82">
                  <c:v>358858</c:v>
                </c:pt>
                <c:pt idx="83">
                  <c:v>355107</c:v>
                </c:pt>
                <c:pt idx="84">
                  <c:v>355381</c:v>
                </c:pt>
                <c:pt idx="85">
                  <c:v>353081</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3</c:v>
                </c:pt>
                <c:pt idx="49">
                  <c:v>374213</c:v>
                </c:pt>
                <c:pt idx="50">
                  <c:v>415299</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47</c:v>
                </c:pt>
                <c:pt idx="72">
                  <c:v>303601</c:v>
                </c:pt>
                <c:pt idx="73">
                  <c:v>351703</c:v>
                </c:pt>
                <c:pt idx="74">
                  <c:v>382362</c:v>
                </c:pt>
                <c:pt idx="75">
                  <c:v>356831</c:v>
                </c:pt>
                <c:pt idx="76">
                  <c:v>355925</c:v>
                </c:pt>
                <c:pt idx="77">
                  <c:v>353581</c:v>
                </c:pt>
                <c:pt idx="78">
                  <c:v>380620</c:v>
                </c:pt>
                <c:pt idx="79">
                  <c:v>353302</c:v>
                </c:pt>
                <c:pt idx="80">
                  <c:v>349918</c:v>
                </c:pt>
                <c:pt idx="81">
                  <c:v>347991</c:v>
                </c:pt>
                <c:pt idx="82">
                  <c:v>363798</c:v>
                </c:pt>
                <c:pt idx="83">
                  <c:v>358383</c:v>
                </c:pt>
                <c:pt idx="84">
                  <c:v>354662</c:v>
                </c:pt>
                <c:pt idx="85">
                  <c:v>350662</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6</c:v>
                </c:pt>
                <c:pt idx="49">
                  <c:v>535762</c:v>
                </c:pt>
                <c:pt idx="50">
                  <c:v>692359</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47</c:v>
                </c:pt>
                <c:pt idx="72">
                  <c:v>389692</c:v>
                </c:pt>
                <c:pt idx="73">
                  <c:v>352332</c:v>
                </c:pt>
                <c:pt idx="74">
                  <c:v>383245</c:v>
                </c:pt>
                <c:pt idx="75">
                  <c:v>357924</c:v>
                </c:pt>
                <c:pt idx="76">
                  <c:v>357699</c:v>
                </c:pt>
                <c:pt idx="77">
                  <c:v>354305</c:v>
                </c:pt>
                <c:pt idx="78">
                  <c:v>382215</c:v>
                </c:pt>
                <c:pt idx="79">
                  <c:v>354610</c:v>
                </c:pt>
                <c:pt idx="80">
                  <c:v>351091</c:v>
                </c:pt>
                <c:pt idx="81">
                  <c:v>349180</c:v>
                </c:pt>
                <c:pt idx="82">
                  <c:v>364815</c:v>
                </c:pt>
                <c:pt idx="83">
                  <c:v>359414</c:v>
                </c:pt>
                <c:pt idx="84">
                  <c:v>356631</c:v>
                </c:pt>
                <c:pt idx="85">
                  <c:v>351349</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08</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3</c:v>
                </c:pt>
                <c:pt idx="19">
                  <c:v>384792</c:v>
                </c:pt>
                <c:pt idx="20">
                  <c:v>383937</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1</c:v>
                </c:pt>
                <c:pt idx="49">
                  <c:v>406878</c:v>
                </c:pt>
                <c:pt idx="50">
                  <c:v>401227</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2</c:v>
                </c:pt>
                <c:pt idx="72">
                  <c:v>364699</c:v>
                </c:pt>
                <c:pt idx="73">
                  <c:v>364327</c:v>
                </c:pt>
                <c:pt idx="74">
                  <c:v>362717</c:v>
                </c:pt>
                <c:pt idx="75">
                  <c:v>365331</c:v>
                </c:pt>
                <c:pt idx="76">
                  <c:v>366152</c:v>
                </c:pt>
                <c:pt idx="77">
                  <c:v>361971</c:v>
                </c:pt>
                <c:pt idx="78">
                  <c:v>361519</c:v>
                </c:pt>
                <c:pt idx="79">
                  <c:v>359216</c:v>
                </c:pt>
                <c:pt idx="80">
                  <c:v>359388</c:v>
                </c:pt>
                <c:pt idx="81">
                  <c:v>359256</c:v>
                </c:pt>
                <c:pt idx="82">
                  <c:v>358855</c:v>
                </c:pt>
                <c:pt idx="83">
                  <c:v>355107</c:v>
                </c:pt>
                <c:pt idx="84">
                  <c:v>355381</c:v>
                </c:pt>
                <c:pt idx="85">
                  <c:v>353078</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48</c:v>
                </c:pt>
                <c:pt idx="1">
                  <c:v>9663</c:v>
                </c:pt>
                <c:pt idx="2">
                  <c:v>6992</c:v>
                </c:pt>
                <c:pt idx="3">
                  <c:v>2878</c:v>
                </c:pt>
                <c:pt idx="4">
                  <c:v>2476</c:v>
                </c:pt>
                <c:pt idx="5">
                  <c:v>1123</c:v>
                </c:pt>
                <c:pt idx="6">
                  <c:v>1062</c:v>
                </c:pt>
                <c:pt idx="7">
                  <c:v>1267</c:v>
                </c:pt>
                <c:pt idx="8">
                  <c:v>1097</c:v>
                </c:pt>
                <c:pt idx="9">
                  <c:v>945</c:v>
                </c:pt>
                <c:pt idx="10">
                  <c:v>474</c:v>
                </c:pt>
                <c:pt idx="11">
                  <c:v>3036</c:v>
                </c:pt>
                <c:pt idx="12">
                  <c:v>2641</c:v>
                </c:pt>
                <c:pt idx="13">
                  <c:v>388</c:v>
                </c:pt>
                <c:pt idx="14">
                  <c:v>421</c:v>
                </c:pt>
                <c:pt idx="15">
                  <c:v>411</c:v>
                </c:pt>
                <c:pt idx="16">
                  <c:v>209</c:v>
                </c:pt>
                <c:pt idx="17">
                  <c:v>247</c:v>
                </c:pt>
                <c:pt idx="18">
                  <c:v>215</c:v>
                </c:pt>
                <c:pt idx="19">
                  <c:v>154</c:v>
                </c:pt>
                <c:pt idx="20">
                  <c:v>441</c:v>
                </c:pt>
                <c:pt idx="21">
                  <c:v>9418</c:v>
                </c:pt>
                <c:pt idx="22">
                  <c:v>604</c:v>
                </c:pt>
                <c:pt idx="23">
                  <c:v>979</c:v>
                </c:pt>
                <c:pt idx="24">
                  <c:v>2297</c:v>
                </c:pt>
                <c:pt idx="25">
                  <c:v>1028</c:v>
                </c:pt>
                <c:pt idx="26">
                  <c:v>539</c:v>
                </c:pt>
                <c:pt idx="27">
                  <c:v>1838</c:v>
                </c:pt>
                <c:pt idx="28">
                  <c:v>22812</c:v>
                </c:pt>
                <c:pt idx="29">
                  <c:v>14860</c:v>
                </c:pt>
                <c:pt idx="30">
                  <c:v>6451</c:v>
                </c:pt>
                <c:pt idx="31">
                  <c:v>4828</c:v>
                </c:pt>
                <c:pt idx="32">
                  <c:v>6304</c:v>
                </c:pt>
                <c:pt idx="33">
                  <c:v>6068</c:v>
                </c:pt>
                <c:pt idx="34">
                  <c:v>5222</c:v>
                </c:pt>
                <c:pt idx="35">
                  <c:v>6029</c:v>
                </c:pt>
                <c:pt idx="36">
                  <c:v>14219</c:v>
                </c:pt>
                <c:pt idx="37">
                  <c:v>19771</c:v>
                </c:pt>
                <c:pt idx="38">
                  <c:v>21449</c:v>
                </c:pt>
                <c:pt idx="39">
                  <c:v>18524</c:v>
                </c:pt>
                <c:pt idx="40">
                  <c:v>14715</c:v>
                </c:pt>
                <c:pt idx="41">
                  <c:v>12943</c:v>
                </c:pt>
                <c:pt idx="42">
                  <c:v>10206</c:v>
                </c:pt>
                <c:pt idx="43">
                  <c:v>8373</c:v>
                </c:pt>
                <c:pt idx="44">
                  <c:v>7078</c:v>
                </c:pt>
                <c:pt idx="45">
                  <c:v>5558</c:v>
                </c:pt>
                <c:pt idx="46">
                  <c:v>4483</c:v>
                </c:pt>
                <c:pt idx="47">
                  <c:v>1043</c:v>
                </c:pt>
                <c:pt idx="48">
                  <c:v>2033</c:v>
                </c:pt>
                <c:pt idx="49">
                  <c:v>5879</c:v>
                </c:pt>
                <c:pt idx="50">
                  <c:v>9718</c:v>
                </c:pt>
                <c:pt idx="51">
                  <c:v>5487</c:v>
                </c:pt>
                <c:pt idx="52">
                  <c:v>25354</c:v>
                </c:pt>
                <c:pt idx="53">
                  <c:v>53287</c:v>
                </c:pt>
                <c:pt idx="54">
                  <c:v>53470</c:v>
                </c:pt>
                <c:pt idx="55">
                  <c:v>57988</c:v>
                </c:pt>
                <c:pt idx="56">
                  <c:v>58672</c:v>
                </c:pt>
                <c:pt idx="57">
                  <c:v>64260</c:v>
                </c:pt>
                <c:pt idx="58">
                  <c:v>53172</c:v>
                </c:pt>
                <c:pt idx="59">
                  <c:v>23706</c:v>
                </c:pt>
                <c:pt idx="60">
                  <c:v>2874</c:v>
                </c:pt>
                <c:pt idx="61">
                  <c:v>1749</c:v>
                </c:pt>
                <c:pt idx="62">
                  <c:v>1305</c:v>
                </c:pt>
                <c:pt idx="63">
                  <c:v>1734</c:v>
                </c:pt>
                <c:pt idx="64">
                  <c:v>1858</c:v>
                </c:pt>
                <c:pt idx="65">
                  <c:v>21370</c:v>
                </c:pt>
                <c:pt idx="66">
                  <c:v>34551</c:v>
                </c:pt>
                <c:pt idx="67">
                  <c:v>35288</c:v>
                </c:pt>
                <c:pt idx="68">
                  <c:v>34168</c:v>
                </c:pt>
                <c:pt idx="69">
                  <c:v>38784</c:v>
                </c:pt>
                <c:pt idx="70">
                  <c:v>52029</c:v>
                </c:pt>
                <c:pt idx="71">
                  <c:v>60068</c:v>
                </c:pt>
                <c:pt idx="72">
                  <c:v>62321</c:v>
                </c:pt>
                <c:pt idx="73">
                  <c:v>59826</c:v>
                </c:pt>
                <c:pt idx="74">
                  <c:v>62224</c:v>
                </c:pt>
                <c:pt idx="75">
                  <c:v>66601</c:v>
                </c:pt>
                <c:pt idx="76">
                  <c:v>37911</c:v>
                </c:pt>
                <c:pt idx="77">
                  <c:v>39380</c:v>
                </c:pt>
                <c:pt idx="78">
                  <c:v>21467</c:v>
                </c:pt>
                <c:pt idx="79">
                  <c:v>20463</c:v>
                </c:pt>
                <c:pt idx="80">
                  <c:v>16781</c:v>
                </c:pt>
                <c:pt idx="81">
                  <c:v>17109</c:v>
                </c:pt>
                <c:pt idx="82">
                  <c:v>11397</c:v>
                </c:pt>
                <c:pt idx="83">
                  <c:v>9249</c:v>
                </c:pt>
                <c:pt idx="84">
                  <c:v>29622</c:v>
                </c:pt>
                <c:pt idx="85">
                  <c:v>27924</c:v>
                </c:pt>
                <c:pt idx="86">
                  <c:v>24710</c:v>
                </c:pt>
                <c:pt idx="87">
                  <c:v>8451</c:v>
                </c:pt>
                <c:pt idx="88">
                  <c:v>9854</c:v>
                </c:pt>
                <c:pt idx="89">
                  <c:v>6809</c:v>
                </c:pt>
                <c:pt idx="90">
                  <c:v>6203</c:v>
                </c:pt>
                <c:pt idx="91">
                  <c:v>6665</c:v>
                </c:pt>
                <c:pt idx="92">
                  <c:v>9526</c:v>
                </c:pt>
                <c:pt idx="93">
                  <c:v>10529</c:v>
                </c:pt>
                <c:pt idx="94">
                  <c:v>13879</c:v>
                </c:pt>
                <c:pt idx="95">
                  <c:v>9955</c:v>
                </c:pt>
                <c:pt idx="96">
                  <c:v>8168</c:v>
                </c:pt>
                <c:pt idx="97">
                  <c:v>5881</c:v>
                </c:pt>
                <c:pt idx="98">
                  <c:v>2718</c:v>
                </c:pt>
                <c:pt idx="99">
                  <c:v>1690</c:v>
                </c:pt>
                <c:pt idx="100">
                  <c:v>2164</c:v>
                </c:pt>
                <c:pt idx="101">
                  <c:v>2509</c:v>
                </c:pt>
                <c:pt idx="102">
                  <c:v>2662</c:v>
                </c:pt>
                <c:pt idx="103">
                  <c:v>3855</c:v>
                </c:pt>
                <c:pt idx="104">
                  <c:v>1703</c:v>
                </c:pt>
                <c:pt idx="105">
                  <c:v>8347</c:v>
                </c:pt>
                <c:pt idx="106">
                  <c:v>19416</c:v>
                </c:pt>
                <c:pt idx="107">
                  <c:v>21072</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29356</c:v>
                </c:pt>
                <c:pt idx="1">
                  <c:v>423274</c:v>
                </c:pt>
                <c:pt idx="2">
                  <c:v>419448</c:v>
                </c:pt>
                <c:pt idx="3">
                  <c:v>411013</c:v>
                </c:pt>
                <c:pt idx="4">
                  <c:v>431352</c:v>
                </c:pt>
                <c:pt idx="5">
                  <c:v>433546</c:v>
                </c:pt>
                <c:pt idx="6">
                  <c:v>424858</c:v>
                </c:pt>
                <c:pt idx="7">
                  <c:v>457088</c:v>
                </c:pt>
                <c:pt idx="8">
                  <c:v>477073</c:v>
                </c:pt>
                <c:pt idx="9">
                  <c:v>464747</c:v>
                </c:pt>
                <c:pt idx="10">
                  <c:v>445191</c:v>
                </c:pt>
                <c:pt idx="11">
                  <c:v>443371</c:v>
                </c:pt>
                <c:pt idx="12">
                  <c:v>442136</c:v>
                </c:pt>
                <c:pt idx="13">
                  <c:v>490566</c:v>
                </c:pt>
                <c:pt idx="14">
                  <c:v>441671</c:v>
                </c:pt>
                <c:pt idx="15">
                  <c:v>458451</c:v>
                </c:pt>
                <c:pt idx="16">
                  <c:v>446118</c:v>
                </c:pt>
                <c:pt idx="17">
                  <c:v>492088</c:v>
                </c:pt>
                <c:pt idx="18">
                  <c:v>462955</c:v>
                </c:pt>
                <c:pt idx="19">
                  <c:v>456950</c:v>
                </c:pt>
                <c:pt idx="20">
                  <c:v>470299</c:v>
                </c:pt>
                <c:pt idx="21">
                  <c:v>499516</c:v>
                </c:pt>
                <c:pt idx="22">
                  <c:v>529847</c:v>
                </c:pt>
                <c:pt idx="23">
                  <c:v>511920</c:v>
                </c:pt>
                <c:pt idx="24">
                  <c:v>496695</c:v>
                </c:pt>
                <c:pt idx="25">
                  <c:v>501999</c:v>
                </c:pt>
                <c:pt idx="26">
                  <c:v>521046</c:v>
                </c:pt>
                <c:pt idx="27">
                  <c:v>501496</c:v>
                </c:pt>
                <c:pt idx="28">
                  <c:v>486230</c:v>
                </c:pt>
                <c:pt idx="29">
                  <c:v>496542</c:v>
                </c:pt>
                <c:pt idx="30">
                  <c:v>542652</c:v>
                </c:pt>
                <c:pt idx="31">
                  <c:v>513662</c:v>
                </c:pt>
                <c:pt idx="32">
                  <c:v>507831</c:v>
                </c:pt>
                <c:pt idx="33">
                  <c:v>490155</c:v>
                </c:pt>
                <c:pt idx="34">
                  <c:v>497328</c:v>
                </c:pt>
                <c:pt idx="35">
                  <c:v>487577</c:v>
                </c:pt>
                <c:pt idx="36">
                  <c:v>466192</c:v>
                </c:pt>
                <c:pt idx="37">
                  <c:v>457544</c:v>
                </c:pt>
                <c:pt idx="38">
                  <c:v>450183</c:v>
                </c:pt>
                <c:pt idx="39">
                  <c:v>467944</c:v>
                </c:pt>
                <c:pt idx="40">
                  <c:v>442891</c:v>
                </c:pt>
                <c:pt idx="41">
                  <c:v>436351</c:v>
                </c:pt>
                <c:pt idx="42">
                  <c:v>430858</c:v>
                </c:pt>
                <c:pt idx="43">
                  <c:v>445699</c:v>
                </c:pt>
                <c:pt idx="44">
                  <c:v>453052</c:v>
                </c:pt>
                <c:pt idx="45">
                  <c:v>427163</c:v>
                </c:pt>
                <c:pt idx="46">
                  <c:v>403605</c:v>
                </c:pt>
                <c:pt idx="47">
                  <c:v>444929</c:v>
                </c:pt>
                <c:pt idx="48">
                  <c:v>468300</c:v>
                </c:pt>
                <c:pt idx="49">
                  <c:v>450034</c:v>
                </c:pt>
                <c:pt idx="50">
                  <c:v>496034</c:v>
                </c:pt>
                <c:pt idx="51">
                  <c:v>401453</c:v>
                </c:pt>
                <c:pt idx="52">
                  <c:v>424704</c:v>
                </c:pt>
                <c:pt idx="53">
                  <c:v>374379</c:v>
                </c:pt>
                <c:pt idx="54">
                  <c:v>365148</c:v>
                </c:pt>
                <c:pt idx="55">
                  <c:v>390629</c:v>
                </c:pt>
                <c:pt idx="56">
                  <c:v>413006</c:v>
                </c:pt>
                <c:pt idx="57">
                  <c:v>399853</c:v>
                </c:pt>
                <c:pt idx="58">
                  <c:v>402305</c:v>
                </c:pt>
                <c:pt idx="59">
                  <c:v>463879</c:v>
                </c:pt>
                <c:pt idx="60">
                  <c:v>492657</c:v>
                </c:pt>
                <c:pt idx="61">
                  <c:v>480861</c:v>
                </c:pt>
                <c:pt idx="62">
                  <c:v>473422</c:v>
                </c:pt>
                <c:pt idx="63">
                  <c:v>470745</c:v>
                </c:pt>
                <c:pt idx="64">
                  <c:v>485661</c:v>
                </c:pt>
                <c:pt idx="65">
                  <c:v>492088</c:v>
                </c:pt>
                <c:pt idx="66">
                  <c:v>436855</c:v>
                </c:pt>
                <c:pt idx="67">
                  <c:v>406849</c:v>
                </c:pt>
                <c:pt idx="68">
                  <c:v>356468</c:v>
                </c:pt>
                <c:pt idx="69">
                  <c:v>388942</c:v>
                </c:pt>
                <c:pt idx="70">
                  <c:v>432077</c:v>
                </c:pt>
                <c:pt idx="71">
                  <c:v>435282</c:v>
                </c:pt>
                <c:pt idx="72">
                  <c:v>463313</c:v>
                </c:pt>
                <c:pt idx="73">
                  <c:v>463628</c:v>
                </c:pt>
                <c:pt idx="74">
                  <c:v>516137</c:v>
                </c:pt>
                <c:pt idx="75">
                  <c:v>475229</c:v>
                </c:pt>
                <c:pt idx="76">
                  <c:v>506653</c:v>
                </c:pt>
                <c:pt idx="77">
                  <c:v>506991</c:v>
                </c:pt>
                <c:pt idx="78">
                  <c:v>576621</c:v>
                </c:pt>
                <c:pt idx="79">
                  <c:v>518608</c:v>
                </c:pt>
                <c:pt idx="80">
                  <c:v>518818</c:v>
                </c:pt>
                <c:pt idx="81">
                  <c:v>491940</c:v>
                </c:pt>
                <c:pt idx="82">
                  <c:v>517869</c:v>
                </c:pt>
                <c:pt idx="83">
                  <c:v>517959</c:v>
                </c:pt>
                <c:pt idx="84">
                  <c:v>506001</c:v>
                </c:pt>
                <c:pt idx="85">
                  <c:v>492155</c:v>
                </c:pt>
                <c:pt idx="86">
                  <c:v>493006</c:v>
                </c:pt>
                <c:pt idx="87">
                  <c:v>519348</c:v>
                </c:pt>
                <c:pt idx="88">
                  <c:v>476468</c:v>
                </c:pt>
                <c:pt idx="89">
                  <c:v>475275</c:v>
                </c:pt>
                <c:pt idx="90">
                  <c:v>471692</c:v>
                </c:pt>
                <c:pt idx="91">
                  <c:v>529604</c:v>
                </c:pt>
                <c:pt idx="92">
                  <c:v>461102</c:v>
                </c:pt>
                <c:pt idx="93">
                  <c:v>466185</c:v>
                </c:pt>
                <c:pt idx="94">
                  <c:v>453287</c:v>
                </c:pt>
                <c:pt idx="95">
                  <c:v>455487</c:v>
                </c:pt>
                <c:pt idx="96">
                  <c:v>468261</c:v>
                </c:pt>
                <c:pt idx="97">
                  <c:v>435154</c:v>
                </c:pt>
                <c:pt idx="98">
                  <c:v>445142</c:v>
                </c:pt>
                <c:pt idx="99">
                  <c:v>414394</c:v>
                </c:pt>
                <c:pt idx="100">
                  <c:v>455939</c:v>
                </c:pt>
                <c:pt idx="101">
                  <c:v>453081</c:v>
                </c:pt>
                <c:pt idx="102">
                  <c:v>476877</c:v>
                </c:pt>
                <c:pt idx="103">
                  <c:v>426965</c:v>
                </c:pt>
                <c:pt idx="104">
                  <c:v>429918</c:v>
                </c:pt>
                <c:pt idx="105">
                  <c:v>385333</c:v>
                </c:pt>
                <c:pt idx="106">
                  <c:v>402840</c:v>
                </c:pt>
                <c:pt idx="107">
                  <c:v>35755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36504</c:v>
                </c:pt>
                <c:pt idx="1">
                  <c:v>432937</c:v>
                </c:pt>
                <c:pt idx="2">
                  <c:v>426440</c:v>
                </c:pt>
                <c:pt idx="3">
                  <c:v>413891</c:v>
                </c:pt>
                <c:pt idx="4">
                  <c:v>433828</c:v>
                </c:pt>
                <c:pt idx="5">
                  <c:v>434669</c:v>
                </c:pt>
                <c:pt idx="6">
                  <c:v>425920</c:v>
                </c:pt>
                <c:pt idx="7">
                  <c:v>458355</c:v>
                </c:pt>
                <c:pt idx="8">
                  <c:v>478170</c:v>
                </c:pt>
                <c:pt idx="9">
                  <c:v>465692</c:v>
                </c:pt>
                <c:pt idx="10">
                  <c:v>445665</c:v>
                </c:pt>
                <c:pt idx="11">
                  <c:v>446407</c:v>
                </c:pt>
                <c:pt idx="12">
                  <c:v>444777</c:v>
                </c:pt>
                <c:pt idx="13">
                  <c:v>490954</c:v>
                </c:pt>
                <c:pt idx="14">
                  <c:v>442092</c:v>
                </c:pt>
                <c:pt idx="15">
                  <c:v>458862</c:v>
                </c:pt>
                <c:pt idx="16">
                  <c:v>446327</c:v>
                </c:pt>
                <c:pt idx="17">
                  <c:v>492335</c:v>
                </c:pt>
                <c:pt idx="18">
                  <c:v>463170</c:v>
                </c:pt>
                <c:pt idx="19">
                  <c:v>457104</c:v>
                </c:pt>
                <c:pt idx="20">
                  <c:v>470740</c:v>
                </c:pt>
                <c:pt idx="21">
                  <c:v>508934</c:v>
                </c:pt>
                <c:pt idx="22">
                  <c:v>530451</c:v>
                </c:pt>
                <c:pt idx="23">
                  <c:v>512899</c:v>
                </c:pt>
                <c:pt idx="24">
                  <c:v>498992</c:v>
                </c:pt>
                <c:pt idx="25">
                  <c:v>503027</c:v>
                </c:pt>
                <c:pt idx="26">
                  <c:v>521585</c:v>
                </c:pt>
                <c:pt idx="27">
                  <c:v>503334</c:v>
                </c:pt>
                <c:pt idx="28">
                  <c:v>509042</c:v>
                </c:pt>
                <c:pt idx="29">
                  <c:v>511402</c:v>
                </c:pt>
                <c:pt idx="30">
                  <c:v>549103</c:v>
                </c:pt>
                <c:pt idx="31">
                  <c:v>518490</c:v>
                </c:pt>
                <c:pt idx="32">
                  <c:v>514135</c:v>
                </c:pt>
                <c:pt idx="33">
                  <c:v>496223</c:v>
                </c:pt>
                <c:pt idx="34">
                  <c:v>502550</c:v>
                </c:pt>
                <c:pt idx="35">
                  <c:v>493606</c:v>
                </c:pt>
                <c:pt idx="36">
                  <c:v>480411</c:v>
                </c:pt>
                <c:pt idx="37">
                  <c:v>477315</c:v>
                </c:pt>
                <c:pt idx="38">
                  <c:v>471632</c:v>
                </c:pt>
                <c:pt idx="39">
                  <c:v>486468</c:v>
                </c:pt>
                <c:pt idx="40">
                  <c:v>457606</c:v>
                </c:pt>
                <c:pt idx="41">
                  <c:v>449294</c:v>
                </c:pt>
                <c:pt idx="42">
                  <c:v>441064</c:v>
                </c:pt>
                <c:pt idx="43">
                  <c:v>454072</c:v>
                </c:pt>
                <c:pt idx="44">
                  <c:v>460130</c:v>
                </c:pt>
                <c:pt idx="45">
                  <c:v>432721</c:v>
                </c:pt>
                <c:pt idx="46">
                  <c:v>408088</c:v>
                </c:pt>
                <c:pt idx="47">
                  <c:v>445972</c:v>
                </c:pt>
                <c:pt idx="48">
                  <c:v>470333</c:v>
                </c:pt>
                <c:pt idx="49">
                  <c:v>455913</c:v>
                </c:pt>
                <c:pt idx="50">
                  <c:v>505752</c:v>
                </c:pt>
                <c:pt idx="51">
                  <c:v>406940</c:v>
                </c:pt>
                <c:pt idx="52">
                  <c:v>450058</c:v>
                </c:pt>
                <c:pt idx="53">
                  <c:v>427666</c:v>
                </c:pt>
                <c:pt idx="54">
                  <c:v>418618</c:v>
                </c:pt>
                <c:pt idx="55">
                  <c:v>448617</c:v>
                </c:pt>
                <c:pt idx="56">
                  <c:v>471678</c:v>
                </c:pt>
                <c:pt idx="57">
                  <c:v>464113</c:v>
                </c:pt>
                <c:pt idx="58">
                  <c:v>455477</c:v>
                </c:pt>
                <c:pt idx="59">
                  <c:v>487585</c:v>
                </c:pt>
                <c:pt idx="60">
                  <c:v>495531</c:v>
                </c:pt>
                <c:pt idx="61">
                  <c:v>482610</c:v>
                </c:pt>
                <c:pt idx="62">
                  <c:v>474727</c:v>
                </c:pt>
                <c:pt idx="63">
                  <c:v>472479</c:v>
                </c:pt>
                <c:pt idx="64">
                  <c:v>487519</c:v>
                </c:pt>
                <c:pt idx="65">
                  <c:v>513458</c:v>
                </c:pt>
                <c:pt idx="66">
                  <c:v>471406</c:v>
                </c:pt>
                <c:pt idx="67">
                  <c:v>442137</c:v>
                </c:pt>
                <c:pt idx="68">
                  <c:v>390636</c:v>
                </c:pt>
                <c:pt idx="69">
                  <c:v>427726</c:v>
                </c:pt>
                <c:pt idx="70">
                  <c:v>484106</c:v>
                </c:pt>
                <c:pt idx="71">
                  <c:v>495350</c:v>
                </c:pt>
                <c:pt idx="72">
                  <c:v>525634</c:v>
                </c:pt>
                <c:pt idx="73">
                  <c:v>523454</c:v>
                </c:pt>
                <c:pt idx="74">
                  <c:v>578361</c:v>
                </c:pt>
                <c:pt idx="75">
                  <c:v>541830</c:v>
                </c:pt>
                <c:pt idx="76">
                  <c:v>544564</c:v>
                </c:pt>
                <c:pt idx="77">
                  <c:v>546371</c:v>
                </c:pt>
                <c:pt idx="78">
                  <c:v>598088</c:v>
                </c:pt>
                <c:pt idx="79">
                  <c:v>539071</c:v>
                </c:pt>
                <c:pt idx="80">
                  <c:v>535599</c:v>
                </c:pt>
                <c:pt idx="81">
                  <c:v>509049</c:v>
                </c:pt>
                <c:pt idx="82">
                  <c:v>529266</c:v>
                </c:pt>
                <c:pt idx="83">
                  <c:v>527208</c:v>
                </c:pt>
                <c:pt idx="84">
                  <c:v>535623</c:v>
                </c:pt>
                <c:pt idx="85">
                  <c:v>520079</c:v>
                </c:pt>
                <c:pt idx="86">
                  <c:v>517716</c:v>
                </c:pt>
                <c:pt idx="87">
                  <c:v>527799</c:v>
                </c:pt>
                <c:pt idx="88">
                  <c:v>486322</c:v>
                </c:pt>
                <c:pt idx="89">
                  <c:v>482084</c:v>
                </c:pt>
                <c:pt idx="90">
                  <c:v>477895</c:v>
                </c:pt>
                <c:pt idx="91">
                  <c:v>536269</c:v>
                </c:pt>
                <c:pt idx="92">
                  <c:v>470628</c:v>
                </c:pt>
                <c:pt idx="93">
                  <c:v>476714</c:v>
                </c:pt>
                <c:pt idx="94">
                  <c:v>467166</c:v>
                </c:pt>
                <c:pt idx="95">
                  <c:v>465442</c:v>
                </c:pt>
                <c:pt idx="96">
                  <c:v>476429</c:v>
                </c:pt>
                <c:pt idx="97">
                  <c:v>441035</c:v>
                </c:pt>
                <c:pt idx="98">
                  <c:v>447860</c:v>
                </c:pt>
                <c:pt idx="99">
                  <c:v>416084</c:v>
                </c:pt>
                <c:pt idx="100">
                  <c:v>458103</c:v>
                </c:pt>
                <c:pt idx="101">
                  <c:v>455590</c:v>
                </c:pt>
                <c:pt idx="102">
                  <c:v>479539</c:v>
                </c:pt>
                <c:pt idx="103">
                  <c:v>430820</c:v>
                </c:pt>
                <c:pt idx="104">
                  <c:v>431621</c:v>
                </c:pt>
                <c:pt idx="105">
                  <c:v>393680</c:v>
                </c:pt>
                <c:pt idx="106">
                  <c:v>422256</c:v>
                </c:pt>
                <c:pt idx="107">
                  <c:v>37862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18160</c:v>
                </c:pt>
                <c:pt idx="1">
                  <c:v>421093</c:v>
                </c:pt>
                <c:pt idx="2">
                  <c:v>423570</c:v>
                </c:pt>
                <c:pt idx="3">
                  <c:v>423896</c:v>
                </c:pt>
                <c:pt idx="4">
                  <c:v>428215</c:v>
                </c:pt>
                <c:pt idx="5">
                  <c:v>435507</c:v>
                </c:pt>
                <c:pt idx="6">
                  <c:v>441012</c:v>
                </c:pt>
                <c:pt idx="7">
                  <c:v>444210</c:v>
                </c:pt>
                <c:pt idx="8">
                  <c:v>448550</c:v>
                </c:pt>
                <c:pt idx="9">
                  <c:v>449995</c:v>
                </c:pt>
                <c:pt idx="10">
                  <c:v>456987</c:v>
                </c:pt>
                <c:pt idx="11">
                  <c:v>459041</c:v>
                </c:pt>
                <c:pt idx="12">
                  <c:v>459181</c:v>
                </c:pt>
                <c:pt idx="13">
                  <c:v>455171</c:v>
                </c:pt>
                <c:pt idx="14">
                  <c:v>458488</c:v>
                </c:pt>
                <c:pt idx="15">
                  <c:v>460670</c:v>
                </c:pt>
                <c:pt idx="16">
                  <c:v>462003</c:v>
                </c:pt>
                <c:pt idx="17">
                  <c:v>465249</c:v>
                </c:pt>
                <c:pt idx="18">
                  <c:v>467479</c:v>
                </c:pt>
                <c:pt idx="19">
                  <c:v>478518</c:v>
                </c:pt>
                <c:pt idx="20">
                  <c:v>485274</c:v>
                </c:pt>
                <c:pt idx="21">
                  <c:v>491853</c:v>
                </c:pt>
                <c:pt idx="22">
                  <c:v>493209</c:v>
                </c:pt>
                <c:pt idx="23">
                  <c:v>498400</c:v>
                </c:pt>
                <c:pt idx="24">
                  <c:v>499293</c:v>
                </c:pt>
                <c:pt idx="25">
                  <c:v>499081</c:v>
                </c:pt>
                <c:pt idx="26">
                  <c:v>511717</c:v>
                </c:pt>
                <c:pt idx="27">
                  <c:v>531301</c:v>
                </c:pt>
                <c:pt idx="28">
                  <c:v>527522</c:v>
                </c:pt>
                <c:pt idx="29">
                  <c:v>524321</c:v>
                </c:pt>
                <c:pt idx="30">
                  <c:v>518544</c:v>
                </c:pt>
                <c:pt idx="31">
                  <c:v>513254</c:v>
                </c:pt>
                <c:pt idx="32">
                  <c:v>511904</c:v>
                </c:pt>
                <c:pt idx="33">
                  <c:v>508326</c:v>
                </c:pt>
                <c:pt idx="34">
                  <c:v>504024</c:v>
                </c:pt>
                <c:pt idx="35">
                  <c:v>494290</c:v>
                </c:pt>
                <c:pt idx="36">
                  <c:v>490213</c:v>
                </c:pt>
                <c:pt idx="37">
                  <c:v>483323</c:v>
                </c:pt>
                <c:pt idx="38">
                  <c:v>477603</c:v>
                </c:pt>
                <c:pt idx="39">
                  <c:v>469865</c:v>
                </c:pt>
                <c:pt idx="40">
                  <c:v>464881</c:v>
                </c:pt>
                <c:pt idx="41">
                  <c:v>462298</c:v>
                </c:pt>
                <c:pt idx="42">
                  <c:v>456707</c:v>
                </c:pt>
                <c:pt idx="43">
                  <c:v>448757</c:v>
                </c:pt>
                <c:pt idx="44">
                  <c:v>443735</c:v>
                </c:pt>
                <c:pt idx="45">
                  <c:v>445314</c:v>
                </c:pt>
                <c:pt idx="46">
                  <c:v>446248</c:v>
                </c:pt>
                <c:pt idx="47">
                  <c:v>454543</c:v>
                </c:pt>
                <c:pt idx="48">
                  <c:v>448749</c:v>
                </c:pt>
                <c:pt idx="49">
                  <c:v>448093</c:v>
                </c:pt>
                <c:pt idx="50">
                  <c:v>452076</c:v>
                </c:pt>
                <c:pt idx="51">
                  <c:v>449124</c:v>
                </c:pt>
                <c:pt idx="52">
                  <c:v>449979</c:v>
                </c:pt>
                <c:pt idx="53">
                  <c:v>457554</c:v>
                </c:pt>
                <c:pt idx="54">
                  <c:v>453513</c:v>
                </c:pt>
                <c:pt idx="55">
                  <c:v>448610</c:v>
                </c:pt>
                <c:pt idx="56">
                  <c:v>460850</c:v>
                </c:pt>
                <c:pt idx="57">
                  <c:v>468918</c:v>
                </c:pt>
                <c:pt idx="58">
                  <c:v>476068</c:v>
                </c:pt>
                <c:pt idx="59">
                  <c:v>483454</c:v>
                </c:pt>
                <c:pt idx="60">
                  <c:v>486541</c:v>
                </c:pt>
                <c:pt idx="61">
                  <c:v>488668</c:v>
                </c:pt>
                <c:pt idx="62">
                  <c:v>494339</c:v>
                </c:pt>
                <c:pt idx="63">
                  <c:v>490300</c:v>
                </c:pt>
                <c:pt idx="64">
                  <c:v>478542</c:v>
                </c:pt>
                <c:pt idx="65">
                  <c:v>465192</c:v>
                </c:pt>
                <c:pt idx="66">
                  <c:v>457183</c:v>
                </c:pt>
                <c:pt idx="67">
                  <c:v>457553</c:v>
                </c:pt>
                <c:pt idx="68">
                  <c:v>460037</c:v>
                </c:pt>
                <c:pt idx="69">
                  <c:v>464273</c:v>
                </c:pt>
                <c:pt idx="70">
                  <c:v>465499</c:v>
                </c:pt>
                <c:pt idx="71">
                  <c:v>478079</c:v>
                </c:pt>
                <c:pt idx="72">
                  <c:v>490227</c:v>
                </c:pt>
                <c:pt idx="73">
                  <c:v>509975</c:v>
                </c:pt>
                <c:pt idx="74">
                  <c:v>534367</c:v>
                </c:pt>
                <c:pt idx="75">
                  <c:v>548649</c:v>
                </c:pt>
                <c:pt idx="76">
                  <c:v>551884</c:v>
                </c:pt>
                <c:pt idx="77">
                  <c:v>550358</c:v>
                </c:pt>
                <c:pt idx="78">
                  <c:v>549328</c:v>
                </c:pt>
                <c:pt idx="79">
                  <c:v>543764</c:v>
                </c:pt>
                <c:pt idx="80">
                  <c:v>541937</c:v>
                </c:pt>
                <c:pt idx="81">
                  <c:v>540569</c:v>
                </c:pt>
                <c:pt idx="82">
                  <c:v>537228</c:v>
                </c:pt>
                <c:pt idx="83">
                  <c:v>527147</c:v>
                </c:pt>
                <c:pt idx="84">
                  <c:v>525680</c:v>
                </c:pt>
                <c:pt idx="85">
                  <c:v>519573</c:v>
                </c:pt>
                <c:pt idx="86">
                  <c:v>516216</c:v>
                </c:pt>
                <c:pt idx="87">
                  <c:v>509770</c:v>
                </c:pt>
                <c:pt idx="88">
                  <c:v>510980</c:v>
                </c:pt>
                <c:pt idx="89">
                  <c:v>502837</c:v>
                </c:pt>
                <c:pt idx="90">
                  <c:v>497371</c:v>
                </c:pt>
                <c:pt idx="91">
                  <c:v>491044</c:v>
                </c:pt>
                <c:pt idx="92">
                  <c:v>483293</c:v>
                </c:pt>
                <c:pt idx="93">
                  <c:v>482034</c:v>
                </c:pt>
                <c:pt idx="94">
                  <c:v>476860</c:v>
                </c:pt>
                <c:pt idx="95">
                  <c:v>472976</c:v>
                </c:pt>
                <c:pt idx="96">
                  <c:v>457939</c:v>
                </c:pt>
                <c:pt idx="97">
                  <c:v>456362</c:v>
                </c:pt>
                <c:pt idx="98">
                  <c:v>453733</c:v>
                </c:pt>
                <c:pt idx="99">
                  <c:v>455289</c:v>
                </c:pt>
                <c:pt idx="100">
                  <c:v>450962</c:v>
                </c:pt>
                <c:pt idx="101">
                  <c:v>445356</c:v>
                </c:pt>
                <c:pt idx="102">
                  <c:v>439419</c:v>
                </c:pt>
                <c:pt idx="103">
                  <c:v>436189</c:v>
                </c:pt>
                <c:pt idx="104">
                  <c:v>431503</c:v>
                </c:pt>
                <c:pt idx="105">
                  <c:v>422470</c:v>
                </c:pt>
                <c:pt idx="106">
                  <c:v>417990</c:v>
                </c:pt>
                <c:pt idx="107">
                  <c:v>40677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2</c:v>
                </c:pt>
                <c:pt idx="1">
                  <c:v>0.02</c:v>
                </c:pt>
                <c:pt idx="2">
                  <c:v>0.01</c:v>
                </c:pt>
                <c:pt idx="3">
                  <c:v>0.01</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2</c:v>
                </c:pt>
                <c:pt idx="38">
                  <c:v>0.02</c:v>
                </c:pt>
                <c:pt idx="39">
                  <c:v>0.01</c:v>
                </c:pt>
                <c:pt idx="40">
                  <c:v>0.01</c:v>
                </c:pt>
                <c:pt idx="41">
                  <c:v>0.01</c:v>
                </c:pt>
                <c:pt idx="42">
                  <c:v>0.01</c:v>
                </c:pt>
                <c:pt idx="43">
                  <c:v>0.01</c:v>
                </c:pt>
                <c:pt idx="44">
                  <c:v>0.01</c:v>
                </c:pt>
                <c:pt idx="45">
                  <c:v>0.01</c:v>
                </c:pt>
                <c:pt idx="46">
                  <c:v>0</c:v>
                </c:pt>
                <c:pt idx="47">
                  <c:v>0</c:v>
                </c:pt>
                <c:pt idx="48">
                  <c:v>0</c:v>
                </c:pt>
                <c:pt idx="49">
                  <c:v>0.01</c:v>
                </c:pt>
                <c:pt idx="50">
                  <c:v>0.01</c:v>
                </c:pt>
                <c:pt idx="51">
                  <c:v>0.01</c:v>
                </c:pt>
                <c:pt idx="52">
                  <c:v>0.02</c:v>
                </c:pt>
                <c:pt idx="53">
                  <c:v>0.05</c:v>
                </c:pt>
                <c:pt idx="54">
                  <c:v>0.04</c:v>
                </c:pt>
                <c:pt idx="55">
                  <c:v>0.04</c:v>
                </c:pt>
                <c:pt idx="56">
                  <c:v>0.04</c:v>
                </c:pt>
                <c:pt idx="57">
                  <c:v>0.05</c:v>
                </c:pt>
                <c:pt idx="58">
                  <c:v>0.05</c:v>
                </c:pt>
                <c:pt idx="59">
                  <c:v>0.03</c:v>
                </c:pt>
                <c:pt idx="60">
                  <c:v>0.01</c:v>
                </c:pt>
                <c:pt idx="61">
                  <c:v>0</c:v>
                </c:pt>
                <c:pt idx="62">
                  <c:v>0</c:v>
                </c:pt>
                <c:pt idx="63">
                  <c:v>0.01</c:v>
                </c:pt>
                <c:pt idx="64">
                  <c:v>0.01</c:v>
                </c:pt>
                <c:pt idx="65">
                  <c:v>0.11</c:v>
                </c:pt>
                <c:pt idx="66">
                  <c:v>0.19</c:v>
                </c:pt>
                <c:pt idx="67">
                  <c:v>0.2</c:v>
                </c:pt>
                <c:pt idx="68">
                  <c:v>0.2</c:v>
                </c:pt>
                <c:pt idx="69">
                  <c:v>0.21</c:v>
                </c:pt>
                <c:pt idx="70">
                  <c:v>0.21</c:v>
                </c:pt>
                <c:pt idx="71">
                  <c:v>0.21</c:v>
                </c:pt>
                <c:pt idx="72">
                  <c:v>0.21</c:v>
                </c:pt>
                <c:pt idx="73">
                  <c:v>0.21</c:v>
                </c:pt>
                <c:pt idx="74">
                  <c:v>0.21</c:v>
                </c:pt>
                <c:pt idx="75">
                  <c:v>0.21</c:v>
                </c:pt>
                <c:pt idx="76">
                  <c:v>0.18</c:v>
                </c:pt>
                <c:pt idx="77">
                  <c:v>0.03</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1</c:v>
                </c:pt>
                <c:pt idx="102">
                  <c:v>0.01</c:v>
                </c:pt>
                <c:pt idx="103">
                  <c:v>0.01</c:v>
                </c:pt>
                <c:pt idx="104">
                  <c:v>0.01</c:v>
                </c:pt>
                <c:pt idx="105">
                  <c:v>0.01</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6</c:v>
                </c:pt>
                <c:pt idx="49">
                  <c:v>374213</c:v>
                </c:pt>
                <c:pt idx="50">
                  <c:v>415302</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50</c:v>
                </c:pt>
                <c:pt idx="72">
                  <c:v>303601</c:v>
                </c:pt>
                <c:pt idx="73">
                  <c:v>351703</c:v>
                </c:pt>
                <c:pt idx="74">
                  <c:v>382362</c:v>
                </c:pt>
                <c:pt idx="75">
                  <c:v>356831</c:v>
                </c:pt>
                <c:pt idx="76">
                  <c:v>355925</c:v>
                </c:pt>
                <c:pt idx="77">
                  <c:v>353581</c:v>
                </c:pt>
                <c:pt idx="78">
                  <c:v>380620</c:v>
                </c:pt>
                <c:pt idx="79">
                  <c:v>353302</c:v>
                </c:pt>
                <c:pt idx="80">
                  <c:v>349918</c:v>
                </c:pt>
                <c:pt idx="81">
                  <c:v>347994</c:v>
                </c:pt>
                <c:pt idx="82">
                  <c:v>363801</c:v>
                </c:pt>
                <c:pt idx="83">
                  <c:v>358383</c:v>
                </c:pt>
                <c:pt idx="84">
                  <c:v>354662</c:v>
                </c:pt>
                <c:pt idx="85">
                  <c:v>350665</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9</c:v>
                </c:pt>
                <c:pt idx="49">
                  <c:v>535762</c:v>
                </c:pt>
                <c:pt idx="50">
                  <c:v>692362</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50</c:v>
                </c:pt>
                <c:pt idx="72">
                  <c:v>389692</c:v>
                </c:pt>
                <c:pt idx="73">
                  <c:v>352332</c:v>
                </c:pt>
                <c:pt idx="74">
                  <c:v>383245</c:v>
                </c:pt>
                <c:pt idx="75">
                  <c:v>357924</c:v>
                </c:pt>
                <c:pt idx="76">
                  <c:v>357699</c:v>
                </c:pt>
                <c:pt idx="77">
                  <c:v>354305</c:v>
                </c:pt>
                <c:pt idx="78">
                  <c:v>382215</c:v>
                </c:pt>
                <c:pt idx="79">
                  <c:v>354610</c:v>
                </c:pt>
                <c:pt idx="80">
                  <c:v>351091</c:v>
                </c:pt>
                <c:pt idx="81">
                  <c:v>349183</c:v>
                </c:pt>
                <c:pt idx="82">
                  <c:v>364818</c:v>
                </c:pt>
                <c:pt idx="83">
                  <c:v>359414</c:v>
                </c:pt>
                <c:pt idx="84">
                  <c:v>356631</c:v>
                </c:pt>
                <c:pt idx="85">
                  <c:v>351352</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11</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6</c:v>
                </c:pt>
                <c:pt idx="19">
                  <c:v>384792</c:v>
                </c:pt>
                <c:pt idx="20">
                  <c:v>383938</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4</c:v>
                </c:pt>
                <c:pt idx="49">
                  <c:v>406878</c:v>
                </c:pt>
                <c:pt idx="50">
                  <c:v>401230</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5</c:v>
                </c:pt>
                <c:pt idx="72">
                  <c:v>364699</c:v>
                </c:pt>
                <c:pt idx="73">
                  <c:v>364327</c:v>
                </c:pt>
                <c:pt idx="74">
                  <c:v>362717</c:v>
                </c:pt>
                <c:pt idx="75">
                  <c:v>365331</c:v>
                </c:pt>
                <c:pt idx="76">
                  <c:v>366152</c:v>
                </c:pt>
                <c:pt idx="77">
                  <c:v>361971</c:v>
                </c:pt>
                <c:pt idx="78">
                  <c:v>361519</c:v>
                </c:pt>
                <c:pt idx="79">
                  <c:v>359216</c:v>
                </c:pt>
                <c:pt idx="80">
                  <c:v>359388</c:v>
                </c:pt>
                <c:pt idx="81">
                  <c:v>359259</c:v>
                </c:pt>
                <c:pt idx="82">
                  <c:v>358858</c:v>
                </c:pt>
                <c:pt idx="83">
                  <c:v>355107</c:v>
                </c:pt>
                <c:pt idx="84">
                  <c:v>355381</c:v>
                </c:pt>
                <c:pt idx="85">
                  <c:v>353081</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3</c:v>
                </c:pt>
                <c:pt idx="49">
                  <c:v>374213</c:v>
                </c:pt>
                <c:pt idx="50">
                  <c:v>415299</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47</c:v>
                </c:pt>
                <c:pt idx="72">
                  <c:v>303601</c:v>
                </c:pt>
                <c:pt idx="73">
                  <c:v>351703</c:v>
                </c:pt>
                <c:pt idx="74">
                  <c:v>382362</c:v>
                </c:pt>
                <c:pt idx="75">
                  <c:v>356831</c:v>
                </c:pt>
                <c:pt idx="76">
                  <c:v>355925</c:v>
                </c:pt>
                <c:pt idx="77">
                  <c:v>353581</c:v>
                </c:pt>
                <c:pt idx="78">
                  <c:v>380620</c:v>
                </c:pt>
                <c:pt idx="79">
                  <c:v>353302</c:v>
                </c:pt>
                <c:pt idx="80">
                  <c:v>349918</c:v>
                </c:pt>
                <c:pt idx="81">
                  <c:v>347991</c:v>
                </c:pt>
                <c:pt idx="82">
                  <c:v>363798</c:v>
                </c:pt>
                <c:pt idx="83">
                  <c:v>358383</c:v>
                </c:pt>
                <c:pt idx="84">
                  <c:v>354662</c:v>
                </c:pt>
                <c:pt idx="85">
                  <c:v>350662</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6</c:v>
                </c:pt>
                <c:pt idx="49">
                  <c:v>535762</c:v>
                </c:pt>
                <c:pt idx="50">
                  <c:v>692359</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47</c:v>
                </c:pt>
                <c:pt idx="72">
                  <c:v>389692</c:v>
                </c:pt>
                <c:pt idx="73">
                  <c:v>352332</c:v>
                </c:pt>
                <c:pt idx="74">
                  <c:v>383245</c:v>
                </c:pt>
                <c:pt idx="75">
                  <c:v>357924</c:v>
                </c:pt>
                <c:pt idx="76">
                  <c:v>357699</c:v>
                </c:pt>
                <c:pt idx="77">
                  <c:v>354305</c:v>
                </c:pt>
                <c:pt idx="78">
                  <c:v>382215</c:v>
                </c:pt>
                <c:pt idx="79">
                  <c:v>354610</c:v>
                </c:pt>
                <c:pt idx="80">
                  <c:v>351091</c:v>
                </c:pt>
                <c:pt idx="81">
                  <c:v>349180</c:v>
                </c:pt>
                <c:pt idx="82">
                  <c:v>364815</c:v>
                </c:pt>
                <c:pt idx="83">
                  <c:v>359414</c:v>
                </c:pt>
                <c:pt idx="84">
                  <c:v>356631</c:v>
                </c:pt>
                <c:pt idx="85">
                  <c:v>351349</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08</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3</c:v>
                </c:pt>
                <c:pt idx="19">
                  <c:v>384792</c:v>
                </c:pt>
                <c:pt idx="20">
                  <c:v>383937</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1</c:v>
                </c:pt>
                <c:pt idx="49">
                  <c:v>406878</c:v>
                </c:pt>
                <c:pt idx="50">
                  <c:v>401227</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2</c:v>
                </c:pt>
                <c:pt idx="72">
                  <c:v>364699</c:v>
                </c:pt>
                <c:pt idx="73">
                  <c:v>364327</c:v>
                </c:pt>
                <c:pt idx="74">
                  <c:v>362717</c:v>
                </c:pt>
                <c:pt idx="75">
                  <c:v>365331</c:v>
                </c:pt>
                <c:pt idx="76">
                  <c:v>366152</c:v>
                </c:pt>
                <c:pt idx="77">
                  <c:v>361971</c:v>
                </c:pt>
                <c:pt idx="78">
                  <c:v>361519</c:v>
                </c:pt>
                <c:pt idx="79">
                  <c:v>359216</c:v>
                </c:pt>
                <c:pt idx="80">
                  <c:v>359388</c:v>
                </c:pt>
                <c:pt idx="81">
                  <c:v>359256</c:v>
                </c:pt>
                <c:pt idx="82">
                  <c:v>358855</c:v>
                </c:pt>
                <c:pt idx="83">
                  <c:v>355107</c:v>
                </c:pt>
                <c:pt idx="84">
                  <c:v>355381</c:v>
                </c:pt>
                <c:pt idx="85">
                  <c:v>353078</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48</c:v>
                </c:pt>
                <c:pt idx="1">
                  <c:v>9663</c:v>
                </c:pt>
                <c:pt idx="2">
                  <c:v>6992</c:v>
                </c:pt>
                <c:pt idx="3">
                  <c:v>2878</c:v>
                </c:pt>
                <c:pt idx="4">
                  <c:v>2476</c:v>
                </c:pt>
                <c:pt idx="5">
                  <c:v>1123</c:v>
                </c:pt>
                <c:pt idx="6">
                  <c:v>1062</c:v>
                </c:pt>
                <c:pt idx="7">
                  <c:v>1267</c:v>
                </c:pt>
                <c:pt idx="8">
                  <c:v>1097</c:v>
                </c:pt>
                <c:pt idx="9">
                  <c:v>945</c:v>
                </c:pt>
                <c:pt idx="10">
                  <c:v>474</c:v>
                </c:pt>
                <c:pt idx="11">
                  <c:v>3036</c:v>
                </c:pt>
                <c:pt idx="12">
                  <c:v>2641</c:v>
                </c:pt>
                <c:pt idx="13">
                  <c:v>388</c:v>
                </c:pt>
                <c:pt idx="14">
                  <c:v>421</c:v>
                </c:pt>
                <c:pt idx="15">
                  <c:v>411</c:v>
                </c:pt>
                <c:pt idx="16">
                  <c:v>209</c:v>
                </c:pt>
                <c:pt idx="17">
                  <c:v>247</c:v>
                </c:pt>
                <c:pt idx="18">
                  <c:v>215</c:v>
                </c:pt>
                <c:pt idx="19">
                  <c:v>154</c:v>
                </c:pt>
                <c:pt idx="20">
                  <c:v>441</c:v>
                </c:pt>
                <c:pt idx="21">
                  <c:v>9418</c:v>
                </c:pt>
                <c:pt idx="22">
                  <c:v>604</c:v>
                </c:pt>
                <c:pt idx="23">
                  <c:v>979</c:v>
                </c:pt>
                <c:pt idx="24">
                  <c:v>2297</c:v>
                </c:pt>
                <c:pt idx="25">
                  <c:v>1028</c:v>
                </c:pt>
                <c:pt idx="26">
                  <c:v>539</c:v>
                </c:pt>
                <c:pt idx="27">
                  <c:v>1838</c:v>
                </c:pt>
                <c:pt idx="28">
                  <c:v>22812</c:v>
                </c:pt>
                <c:pt idx="29">
                  <c:v>14860</c:v>
                </c:pt>
                <c:pt idx="30">
                  <c:v>6451</c:v>
                </c:pt>
                <c:pt idx="31">
                  <c:v>4828</c:v>
                </c:pt>
                <c:pt idx="32">
                  <c:v>6304</c:v>
                </c:pt>
                <c:pt idx="33">
                  <c:v>6068</c:v>
                </c:pt>
                <c:pt idx="34">
                  <c:v>5222</c:v>
                </c:pt>
                <c:pt idx="35">
                  <c:v>6029</c:v>
                </c:pt>
                <c:pt idx="36">
                  <c:v>14219</c:v>
                </c:pt>
                <c:pt idx="37">
                  <c:v>19771</c:v>
                </c:pt>
                <c:pt idx="38">
                  <c:v>21449</c:v>
                </c:pt>
                <c:pt idx="39">
                  <c:v>18524</c:v>
                </c:pt>
                <c:pt idx="40">
                  <c:v>14715</c:v>
                </c:pt>
                <c:pt idx="41">
                  <c:v>12943</c:v>
                </c:pt>
                <c:pt idx="42">
                  <c:v>10206</c:v>
                </c:pt>
                <c:pt idx="43">
                  <c:v>8373</c:v>
                </c:pt>
                <c:pt idx="44">
                  <c:v>7078</c:v>
                </c:pt>
                <c:pt idx="45">
                  <c:v>5558</c:v>
                </c:pt>
                <c:pt idx="46">
                  <c:v>4483</c:v>
                </c:pt>
                <c:pt idx="47">
                  <c:v>1043</c:v>
                </c:pt>
                <c:pt idx="48">
                  <c:v>2033</c:v>
                </c:pt>
                <c:pt idx="49">
                  <c:v>5879</c:v>
                </c:pt>
                <c:pt idx="50">
                  <c:v>9718</c:v>
                </c:pt>
                <c:pt idx="51">
                  <c:v>5487</c:v>
                </c:pt>
                <c:pt idx="52">
                  <c:v>25354</c:v>
                </c:pt>
                <c:pt idx="53">
                  <c:v>53287</c:v>
                </c:pt>
                <c:pt idx="54">
                  <c:v>53470</c:v>
                </c:pt>
                <c:pt idx="55">
                  <c:v>57988</c:v>
                </c:pt>
                <c:pt idx="56">
                  <c:v>58672</c:v>
                </c:pt>
                <c:pt idx="57">
                  <c:v>64260</c:v>
                </c:pt>
                <c:pt idx="58">
                  <c:v>53172</c:v>
                </c:pt>
                <c:pt idx="59">
                  <c:v>23706</c:v>
                </c:pt>
                <c:pt idx="60">
                  <c:v>2874</c:v>
                </c:pt>
                <c:pt idx="61">
                  <c:v>1749</c:v>
                </c:pt>
                <c:pt idx="62">
                  <c:v>1305</c:v>
                </c:pt>
                <c:pt idx="63">
                  <c:v>1734</c:v>
                </c:pt>
                <c:pt idx="64">
                  <c:v>1858</c:v>
                </c:pt>
                <c:pt idx="65">
                  <c:v>21370</c:v>
                </c:pt>
                <c:pt idx="66">
                  <c:v>34551</c:v>
                </c:pt>
                <c:pt idx="67">
                  <c:v>35288</c:v>
                </c:pt>
                <c:pt idx="68">
                  <c:v>34168</c:v>
                </c:pt>
                <c:pt idx="69">
                  <c:v>38784</c:v>
                </c:pt>
                <c:pt idx="70">
                  <c:v>52029</c:v>
                </c:pt>
                <c:pt idx="71">
                  <c:v>60068</c:v>
                </c:pt>
                <c:pt idx="72">
                  <c:v>62321</c:v>
                </c:pt>
                <c:pt idx="73">
                  <c:v>59826</c:v>
                </c:pt>
                <c:pt idx="74">
                  <c:v>62224</c:v>
                </c:pt>
                <c:pt idx="75">
                  <c:v>66601</c:v>
                </c:pt>
                <c:pt idx="76">
                  <c:v>37911</c:v>
                </c:pt>
                <c:pt idx="77">
                  <c:v>39380</c:v>
                </c:pt>
                <c:pt idx="78">
                  <c:v>21467</c:v>
                </c:pt>
                <c:pt idx="79">
                  <c:v>20463</c:v>
                </c:pt>
                <c:pt idx="80">
                  <c:v>16781</c:v>
                </c:pt>
                <c:pt idx="81">
                  <c:v>17109</c:v>
                </c:pt>
                <c:pt idx="82">
                  <c:v>11397</c:v>
                </c:pt>
                <c:pt idx="83">
                  <c:v>9249</c:v>
                </c:pt>
                <c:pt idx="84">
                  <c:v>29622</c:v>
                </c:pt>
                <c:pt idx="85">
                  <c:v>27924</c:v>
                </c:pt>
                <c:pt idx="86">
                  <c:v>24710</c:v>
                </c:pt>
                <c:pt idx="87">
                  <c:v>8451</c:v>
                </c:pt>
                <c:pt idx="88">
                  <c:v>9854</c:v>
                </c:pt>
                <c:pt idx="89">
                  <c:v>6809</c:v>
                </c:pt>
                <c:pt idx="90">
                  <c:v>6203</c:v>
                </c:pt>
                <c:pt idx="91">
                  <c:v>6665</c:v>
                </c:pt>
                <c:pt idx="92">
                  <c:v>9526</c:v>
                </c:pt>
                <c:pt idx="93">
                  <c:v>10529</c:v>
                </c:pt>
                <c:pt idx="94">
                  <c:v>13879</c:v>
                </c:pt>
                <c:pt idx="95">
                  <c:v>9955</c:v>
                </c:pt>
                <c:pt idx="96">
                  <c:v>8168</c:v>
                </c:pt>
                <c:pt idx="97">
                  <c:v>5881</c:v>
                </c:pt>
                <c:pt idx="98">
                  <c:v>2718</c:v>
                </c:pt>
                <c:pt idx="99">
                  <c:v>1690</c:v>
                </c:pt>
                <c:pt idx="100">
                  <c:v>2164</c:v>
                </c:pt>
                <c:pt idx="101">
                  <c:v>2509</c:v>
                </c:pt>
                <c:pt idx="102">
                  <c:v>2662</c:v>
                </c:pt>
                <c:pt idx="103">
                  <c:v>3855</c:v>
                </c:pt>
                <c:pt idx="104">
                  <c:v>1703</c:v>
                </c:pt>
                <c:pt idx="105">
                  <c:v>8347</c:v>
                </c:pt>
                <c:pt idx="106">
                  <c:v>19416</c:v>
                </c:pt>
                <c:pt idx="107">
                  <c:v>21072</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29356</c:v>
                </c:pt>
                <c:pt idx="1">
                  <c:v>423274</c:v>
                </c:pt>
                <c:pt idx="2">
                  <c:v>419448</c:v>
                </c:pt>
                <c:pt idx="3">
                  <c:v>411013</c:v>
                </c:pt>
                <c:pt idx="4">
                  <c:v>431352</c:v>
                </c:pt>
                <c:pt idx="5">
                  <c:v>433546</c:v>
                </c:pt>
                <c:pt idx="6">
                  <c:v>424858</c:v>
                </c:pt>
                <c:pt idx="7">
                  <c:v>457088</c:v>
                </c:pt>
                <c:pt idx="8">
                  <c:v>477073</c:v>
                </c:pt>
                <c:pt idx="9">
                  <c:v>464747</c:v>
                </c:pt>
                <c:pt idx="10">
                  <c:v>445191</c:v>
                </c:pt>
                <c:pt idx="11">
                  <c:v>443371</c:v>
                </c:pt>
                <c:pt idx="12">
                  <c:v>442136</c:v>
                </c:pt>
                <c:pt idx="13">
                  <c:v>490566</c:v>
                </c:pt>
                <c:pt idx="14">
                  <c:v>441671</c:v>
                </c:pt>
                <c:pt idx="15">
                  <c:v>458451</c:v>
                </c:pt>
                <c:pt idx="16">
                  <c:v>446118</c:v>
                </c:pt>
                <c:pt idx="17">
                  <c:v>492088</c:v>
                </c:pt>
                <c:pt idx="18">
                  <c:v>462955</c:v>
                </c:pt>
                <c:pt idx="19">
                  <c:v>456950</c:v>
                </c:pt>
                <c:pt idx="20">
                  <c:v>470299</c:v>
                </c:pt>
                <c:pt idx="21">
                  <c:v>499516</c:v>
                </c:pt>
                <c:pt idx="22">
                  <c:v>529847</c:v>
                </c:pt>
                <c:pt idx="23">
                  <c:v>511920</c:v>
                </c:pt>
                <c:pt idx="24">
                  <c:v>496695</c:v>
                </c:pt>
                <c:pt idx="25">
                  <c:v>501999</c:v>
                </c:pt>
                <c:pt idx="26">
                  <c:v>521046</c:v>
                </c:pt>
                <c:pt idx="27">
                  <c:v>501496</c:v>
                </c:pt>
                <c:pt idx="28">
                  <c:v>486230</c:v>
                </c:pt>
                <c:pt idx="29">
                  <c:v>496542</c:v>
                </c:pt>
                <c:pt idx="30">
                  <c:v>542652</c:v>
                </c:pt>
                <c:pt idx="31">
                  <c:v>513662</c:v>
                </c:pt>
                <c:pt idx="32">
                  <c:v>507831</c:v>
                </c:pt>
                <c:pt idx="33">
                  <c:v>490155</c:v>
                </c:pt>
                <c:pt idx="34">
                  <c:v>497328</c:v>
                </c:pt>
                <c:pt idx="35">
                  <c:v>487577</c:v>
                </c:pt>
                <c:pt idx="36">
                  <c:v>466192</c:v>
                </c:pt>
                <c:pt idx="37">
                  <c:v>457544</c:v>
                </c:pt>
                <c:pt idx="38">
                  <c:v>450183</c:v>
                </c:pt>
                <c:pt idx="39">
                  <c:v>467944</c:v>
                </c:pt>
                <c:pt idx="40">
                  <c:v>442891</c:v>
                </c:pt>
                <c:pt idx="41">
                  <c:v>436351</c:v>
                </c:pt>
                <c:pt idx="42">
                  <c:v>430858</c:v>
                </c:pt>
                <c:pt idx="43">
                  <c:v>445699</c:v>
                </c:pt>
                <c:pt idx="44">
                  <c:v>453052</c:v>
                </c:pt>
                <c:pt idx="45">
                  <c:v>427163</c:v>
                </c:pt>
                <c:pt idx="46">
                  <c:v>403605</c:v>
                </c:pt>
                <c:pt idx="47">
                  <c:v>444929</c:v>
                </c:pt>
                <c:pt idx="48">
                  <c:v>468300</c:v>
                </c:pt>
                <c:pt idx="49">
                  <c:v>450034</c:v>
                </c:pt>
                <c:pt idx="50">
                  <c:v>496034</c:v>
                </c:pt>
                <c:pt idx="51">
                  <c:v>401453</c:v>
                </c:pt>
                <c:pt idx="52">
                  <c:v>424704</c:v>
                </c:pt>
                <c:pt idx="53">
                  <c:v>374379</c:v>
                </c:pt>
                <c:pt idx="54">
                  <c:v>365148</c:v>
                </c:pt>
                <c:pt idx="55">
                  <c:v>390629</c:v>
                </c:pt>
                <c:pt idx="56">
                  <c:v>413006</c:v>
                </c:pt>
                <c:pt idx="57">
                  <c:v>399853</c:v>
                </c:pt>
                <c:pt idx="58">
                  <c:v>402305</c:v>
                </c:pt>
                <c:pt idx="59">
                  <c:v>463879</c:v>
                </c:pt>
                <c:pt idx="60">
                  <c:v>492657</c:v>
                </c:pt>
                <c:pt idx="61">
                  <c:v>480861</c:v>
                </c:pt>
                <c:pt idx="62">
                  <c:v>473422</c:v>
                </c:pt>
                <c:pt idx="63">
                  <c:v>470745</c:v>
                </c:pt>
                <c:pt idx="64">
                  <c:v>485661</c:v>
                </c:pt>
                <c:pt idx="65">
                  <c:v>492088</c:v>
                </c:pt>
                <c:pt idx="66">
                  <c:v>436855</c:v>
                </c:pt>
                <c:pt idx="67">
                  <c:v>406849</c:v>
                </c:pt>
                <c:pt idx="68">
                  <c:v>356468</c:v>
                </c:pt>
                <c:pt idx="69">
                  <c:v>388942</c:v>
                </c:pt>
                <c:pt idx="70">
                  <c:v>432077</c:v>
                </c:pt>
                <c:pt idx="71">
                  <c:v>435282</c:v>
                </c:pt>
                <c:pt idx="72">
                  <c:v>463313</c:v>
                </c:pt>
                <c:pt idx="73">
                  <c:v>463628</c:v>
                </c:pt>
                <c:pt idx="74">
                  <c:v>516137</c:v>
                </c:pt>
                <c:pt idx="75">
                  <c:v>475229</c:v>
                </c:pt>
                <c:pt idx="76">
                  <c:v>506653</c:v>
                </c:pt>
                <c:pt idx="77">
                  <c:v>506991</c:v>
                </c:pt>
                <c:pt idx="78">
                  <c:v>576621</c:v>
                </c:pt>
                <c:pt idx="79">
                  <c:v>518608</c:v>
                </c:pt>
                <c:pt idx="80">
                  <c:v>518818</c:v>
                </c:pt>
                <c:pt idx="81">
                  <c:v>491940</c:v>
                </c:pt>
                <c:pt idx="82">
                  <c:v>517869</c:v>
                </c:pt>
                <c:pt idx="83">
                  <c:v>517959</c:v>
                </c:pt>
                <c:pt idx="84">
                  <c:v>506001</c:v>
                </c:pt>
                <c:pt idx="85">
                  <c:v>492155</c:v>
                </c:pt>
                <c:pt idx="86">
                  <c:v>493006</c:v>
                </c:pt>
                <c:pt idx="87">
                  <c:v>519348</c:v>
                </c:pt>
                <c:pt idx="88">
                  <c:v>476468</c:v>
                </c:pt>
                <c:pt idx="89">
                  <c:v>475275</c:v>
                </c:pt>
                <c:pt idx="90">
                  <c:v>471692</c:v>
                </c:pt>
                <c:pt idx="91">
                  <c:v>529604</c:v>
                </c:pt>
                <c:pt idx="92">
                  <c:v>461102</c:v>
                </c:pt>
                <c:pt idx="93">
                  <c:v>466185</c:v>
                </c:pt>
                <c:pt idx="94">
                  <c:v>453287</c:v>
                </c:pt>
                <c:pt idx="95">
                  <c:v>455487</c:v>
                </c:pt>
                <c:pt idx="96">
                  <c:v>468261</c:v>
                </c:pt>
                <c:pt idx="97">
                  <c:v>435154</c:v>
                </c:pt>
                <c:pt idx="98">
                  <c:v>445142</c:v>
                </c:pt>
                <c:pt idx="99">
                  <c:v>414394</c:v>
                </c:pt>
                <c:pt idx="100">
                  <c:v>455939</c:v>
                </c:pt>
                <c:pt idx="101">
                  <c:v>453081</c:v>
                </c:pt>
                <c:pt idx="102">
                  <c:v>476877</c:v>
                </c:pt>
                <c:pt idx="103">
                  <c:v>426965</c:v>
                </c:pt>
                <c:pt idx="104">
                  <c:v>429918</c:v>
                </c:pt>
                <c:pt idx="105">
                  <c:v>385333</c:v>
                </c:pt>
                <c:pt idx="106">
                  <c:v>402840</c:v>
                </c:pt>
                <c:pt idx="107">
                  <c:v>35755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36504</c:v>
                </c:pt>
                <c:pt idx="1">
                  <c:v>432937</c:v>
                </c:pt>
                <c:pt idx="2">
                  <c:v>426440</c:v>
                </c:pt>
                <c:pt idx="3">
                  <c:v>413891</c:v>
                </c:pt>
                <c:pt idx="4">
                  <c:v>433828</c:v>
                </c:pt>
                <c:pt idx="5">
                  <c:v>434669</c:v>
                </c:pt>
                <c:pt idx="6">
                  <c:v>425920</c:v>
                </c:pt>
                <c:pt idx="7">
                  <c:v>458355</c:v>
                </c:pt>
                <c:pt idx="8">
                  <c:v>478170</c:v>
                </c:pt>
                <c:pt idx="9">
                  <c:v>465692</c:v>
                </c:pt>
                <c:pt idx="10">
                  <c:v>445665</c:v>
                </c:pt>
                <c:pt idx="11">
                  <c:v>446407</c:v>
                </c:pt>
                <c:pt idx="12">
                  <c:v>444777</c:v>
                </c:pt>
                <c:pt idx="13">
                  <c:v>490954</c:v>
                </c:pt>
                <c:pt idx="14">
                  <c:v>442092</c:v>
                </c:pt>
                <c:pt idx="15">
                  <c:v>458862</c:v>
                </c:pt>
                <c:pt idx="16">
                  <c:v>446327</c:v>
                </c:pt>
                <c:pt idx="17">
                  <c:v>492335</c:v>
                </c:pt>
                <c:pt idx="18">
                  <c:v>463170</c:v>
                </c:pt>
                <c:pt idx="19">
                  <c:v>457104</c:v>
                </c:pt>
                <c:pt idx="20">
                  <c:v>470740</c:v>
                </c:pt>
                <c:pt idx="21">
                  <c:v>508934</c:v>
                </c:pt>
                <c:pt idx="22">
                  <c:v>530451</c:v>
                </c:pt>
                <c:pt idx="23">
                  <c:v>512899</c:v>
                </c:pt>
                <c:pt idx="24">
                  <c:v>498992</c:v>
                </c:pt>
                <c:pt idx="25">
                  <c:v>503027</c:v>
                </c:pt>
                <c:pt idx="26">
                  <c:v>521585</c:v>
                </c:pt>
                <c:pt idx="27">
                  <c:v>503334</c:v>
                </c:pt>
                <c:pt idx="28">
                  <c:v>509042</c:v>
                </c:pt>
                <c:pt idx="29">
                  <c:v>511402</c:v>
                </c:pt>
                <c:pt idx="30">
                  <c:v>549103</c:v>
                </c:pt>
                <c:pt idx="31">
                  <c:v>518490</c:v>
                </c:pt>
                <c:pt idx="32">
                  <c:v>514135</c:v>
                </c:pt>
                <c:pt idx="33">
                  <c:v>496223</c:v>
                </c:pt>
                <c:pt idx="34">
                  <c:v>502550</c:v>
                </c:pt>
                <c:pt idx="35">
                  <c:v>493606</c:v>
                </c:pt>
                <c:pt idx="36">
                  <c:v>480411</c:v>
                </c:pt>
                <c:pt idx="37">
                  <c:v>477315</c:v>
                </c:pt>
                <c:pt idx="38">
                  <c:v>471632</c:v>
                </c:pt>
                <c:pt idx="39">
                  <c:v>486468</c:v>
                </c:pt>
                <c:pt idx="40">
                  <c:v>457606</c:v>
                </c:pt>
                <c:pt idx="41">
                  <c:v>449294</c:v>
                </c:pt>
                <c:pt idx="42">
                  <c:v>441064</c:v>
                </c:pt>
                <c:pt idx="43">
                  <c:v>454072</c:v>
                </c:pt>
                <c:pt idx="44">
                  <c:v>460130</c:v>
                </c:pt>
                <c:pt idx="45">
                  <c:v>432721</c:v>
                </c:pt>
                <c:pt idx="46">
                  <c:v>408088</c:v>
                </c:pt>
                <c:pt idx="47">
                  <c:v>445972</c:v>
                </c:pt>
                <c:pt idx="48">
                  <c:v>470333</c:v>
                </c:pt>
                <c:pt idx="49">
                  <c:v>455913</c:v>
                </c:pt>
                <c:pt idx="50">
                  <c:v>505752</c:v>
                </c:pt>
                <c:pt idx="51">
                  <c:v>406940</c:v>
                </c:pt>
                <c:pt idx="52">
                  <c:v>450058</c:v>
                </c:pt>
                <c:pt idx="53">
                  <c:v>427666</c:v>
                </c:pt>
                <c:pt idx="54">
                  <c:v>418618</c:v>
                </c:pt>
                <c:pt idx="55">
                  <c:v>448617</c:v>
                </c:pt>
                <c:pt idx="56">
                  <c:v>471678</c:v>
                </c:pt>
                <c:pt idx="57">
                  <c:v>464113</c:v>
                </c:pt>
                <c:pt idx="58">
                  <c:v>455477</c:v>
                </c:pt>
                <c:pt idx="59">
                  <c:v>487585</c:v>
                </c:pt>
                <c:pt idx="60">
                  <c:v>495531</c:v>
                </c:pt>
                <c:pt idx="61">
                  <c:v>482610</c:v>
                </c:pt>
                <c:pt idx="62">
                  <c:v>474727</c:v>
                </c:pt>
                <c:pt idx="63">
                  <c:v>472479</c:v>
                </c:pt>
                <c:pt idx="64">
                  <c:v>487519</c:v>
                </c:pt>
                <c:pt idx="65">
                  <c:v>513458</c:v>
                </c:pt>
                <c:pt idx="66">
                  <c:v>471406</c:v>
                </c:pt>
                <c:pt idx="67">
                  <c:v>442137</c:v>
                </c:pt>
                <c:pt idx="68">
                  <c:v>390636</c:v>
                </c:pt>
                <c:pt idx="69">
                  <c:v>427726</c:v>
                </c:pt>
                <c:pt idx="70">
                  <c:v>484106</c:v>
                </c:pt>
                <c:pt idx="71">
                  <c:v>495350</c:v>
                </c:pt>
                <c:pt idx="72">
                  <c:v>525634</c:v>
                </c:pt>
                <c:pt idx="73">
                  <c:v>523454</c:v>
                </c:pt>
                <c:pt idx="74">
                  <c:v>578361</c:v>
                </c:pt>
                <c:pt idx="75">
                  <c:v>541830</c:v>
                </c:pt>
                <c:pt idx="76">
                  <c:v>544564</c:v>
                </c:pt>
                <c:pt idx="77">
                  <c:v>546371</c:v>
                </c:pt>
                <c:pt idx="78">
                  <c:v>598088</c:v>
                </c:pt>
                <c:pt idx="79">
                  <c:v>539071</c:v>
                </c:pt>
                <c:pt idx="80">
                  <c:v>535599</c:v>
                </c:pt>
                <c:pt idx="81">
                  <c:v>509049</c:v>
                </c:pt>
                <c:pt idx="82">
                  <c:v>529266</c:v>
                </c:pt>
                <c:pt idx="83">
                  <c:v>527208</c:v>
                </c:pt>
                <c:pt idx="84">
                  <c:v>535623</c:v>
                </c:pt>
                <c:pt idx="85">
                  <c:v>520079</c:v>
                </c:pt>
                <c:pt idx="86">
                  <c:v>517716</c:v>
                </c:pt>
                <c:pt idx="87">
                  <c:v>527799</c:v>
                </c:pt>
                <c:pt idx="88">
                  <c:v>486322</c:v>
                </c:pt>
                <c:pt idx="89">
                  <c:v>482084</c:v>
                </c:pt>
                <c:pt idx="90">
                  <c:v>477895</c:v>
                </c:pt>
                <c:pt idx="91">
                  <c:v>536269</c:v>
                </c:pt>
                <c:pt idx="92">
                  <c:v>470628</c:v>
                </c:pt>
                <c:pt idx="93">
                  <c:v>476714</c:v>
                </c:pt>
                <c:pt idx="94">
                  <c:v>467166</c:v>
                </c:pt>
                <c:pt idx="95">
                  <c:v>465442</c:v>
                </c:pt>
                <c:pt idx="96">
                  <c:v>476429</c:v>
                </c:pt>
                <c:pt idx="97">
                  <c:v>441035</c:v>
                </c:pt>
                <c:pt idx="98">
                  <c:v>447860</c:v>
                </c:pt>
                <c:pt idx="99">
                  <c:v>416084</c:v>
                </c:pt>
                <c:pt idx="100">
                  <c:v>458103</c:v>
                </c:pt>
                <c:pt idx="101">
                  <c:v>455590</c:v>
                </c:pt>
                <c:pt idx="102">
                  <c:v>479539</c:v>
                </c:pt>
                <c:pt idx="103">
                  <c:v>430820</c:v>
                </c:pt>
                <c:pt idx="104">
                  <c:v>431621</c:v>
                </c:pt>
                <c:pt idx="105">
                  <c:v>393680</c:v>
                </c:pt>
                <c:pt idx="106">
                  <c:v>422256</c:v>
                </c:pt>
                <c:pt idx="107">
                  <c:v>37862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18160</c:v>
                </c:pt>
                <c:pt idx="1">
                  <c:v>421093</c:v>
                </c:pt>
                <c:pt idx="2">
                  <c:v>423570</c:v>
                </c:pt>
                <c:pt idx="3">
                  <c:v>423896</c:v>
                </c:pt>
                <c:pt idx="4">
                  <c:v>428215</c:v>
                </c:pt>
                <c:pt idx="5">
                  <c:v>435507</c:v>
                </c:pt>
                <c:pt idx="6">
                  <c:v>441012</c:v>
                </c:pt>
                <c:pt idx="7">
                  <c:v>444210</c:v>
                </c:pt>
                <c:pt idx="8">
                  <c:v>448550</c:v>
                </c:pt>
                <c:pt idx="9">
                  <c:v>449995</c:v>
                </c:pt>
                <c:pt idx="10">
                  <c:v>456987</c:v>
                </c:pt>
                <c:pt idx="11">
                  <c:v>459041</c:v>
                </c:pt>
                <c:pt idx="12">
                  <c:v>459181</c:v>
                </c:pt>
                <c:pt idx="13">
                  <c:v>455171</c:v>
                </c:pt>
                <c:pt idx="14">
                  <c:v>458488</c:v>
                </c:pt>
                <c:pt idx="15">
                  <c:v>460670</c:v>
                </c:pt>
                <c:pt idx="16">
                  <c:v>462003</c:v>
                </c:pt>
                <c:pt idx="17">
                  <c:v>465249</c:v>
                </c:pt>
                <c:pt idx="18">
                  <c:v>467479</c:v>
                </c:pt>
                <c:pt idx="19">
                  <c:v>478518</c:v>
                </c:pt>
                <c:pt idx="20">
                  <c:v>485274</c:v>
                </c:pt>
                <c:pt idx="21">
                  <c:v>491853</c:v>
                </c:pt>
                <c:pt idx="22">
                  <c:v>493209</c:v>
                </c:pt>
                <c:pt idx="23">
                  <c:v>498400</c:v>
                </c:pt>
                <c:pt idx="24">
                  <c:v>499293</c:v>
                </c:pt>
                <c:pt idx="25">
                  <c:v>499081</c:v>
                </c:pt>
                <c:pt idx="26">
                  <c:v>511717</c:v>
                </c:pt>
                <c:pt idx="27">
                  <c:v>531301</c:v>
                </c:pt>
                <c:pt idx="28">
                  <c:v>527522</c:v>
                </c:pt>
                <c:pt idx="29">
                  <c:v>524321</c:v>
                </c:pt>
                <c:pt idx="30">
                  <c:v>518544</c:v>
                </c:pt>
                <c:pt idx="31">
                  <c:v>513254</c:v>
                </c:pt>
                <c:pt idx="32">
                  <c:v>511904</c:v>
                </c:pt>
                <c:pt idx="33">
                  <c:v>508326</c:v>
                </c:pt>
                <c:pt idx="34">
                  <c:v>504024</c:v>
                </c:pt>
                <c:pt idx="35">
                  <c:v>494290</c:v>
                </c:pt>
                <c:pt idx="36">
                  <c:v>490213</c:v>
                </c:pt>
                <c:pt idx="37">
                  <c:v>483323</c:v>
                </c:pt>
                <c:pt idx="38">
                  <c:v>477603</c:v>
                </c:pt>
                <c:pt idx="39">
                  <c:v>469865</c:v>
                </c:pt>
                <c:pt idx="40">
                  <c:v>464881</c:v>
                </c:pt>
                <c:pt idx="41">
                  <c:v>462298</c:v>
                </c:pt>
                <c:pt idx="42">
                  <c:v>456707</c:v>
                </c:pt>
                <c:pt idx="43">
                  <c:v>448757</c:v>
                </c:pt>
                <c:pt idx="44">
                  <c:v>443735</c:v>
                </c:pt>
                <c:pt idx="45">
                  <c:v>445314</c:v>
                </c:pt>
                <c:pt idx="46">
                  <c:v>446248</c:v>
                </c:pt>
                <c:pt idx="47">
                  <c:v>454543</c:v>
                </c:pt>
                <c:pt idx="48">
                  <c:v>448749</c:v>
                </c:pt>
                <c:pt idx="49">
                  <c:v>448093</c:v>
                </c:pt>
                <c:pt idx="50">
                  <c:v>452076</c:v>
                </c:pt>
                <c:pt idx="51">
                  <c:v>449124</c:v>
                </c:pt>
                <c:pt idx="52">
                  <c:v>449979</c:v>
                </c:pt>
                <c:pt idx="53">
                  <c:v>457554</c:v>
                </c:pt>
                <c:pt idx="54">
                  <c:v>453513</c:v>
                </c:pt>
                <c:pt idx="55">
                  <c:v>448610</c:v>
                </c:pt>
                <c:pt idx="56">
                  <c:v>460850</c:v>
                </c:pt>
                <c:pt idx="57">
                  <c:v>468918</c:v>
                </c:pt>
                <c:pt idx="58">
                  <c:v>476068</c:v>
                </c:pt>
                <c:pt idx="59">
                  <c:v>483454</c:v>
                </c:pt>
                <c:pt idx="60">
                  <c:v>486541</c:v>
                </c:pt>
                <c:pt idx="61">
                  <c:v>488668</c:v>
                </c:pt>
                <c:pt idx="62">
                  <c:v>494339</c:v>
                </c:pt>
                <c:pt idx="63">
                  <c:v>490300</c:v>
                </c:pt>
                <c:pt idx="64">
                  <c:v>478542</c:v>
                </c:pt>
                <c:pt idx="65">
                  <c:v>465192</c:v>
                </c:pt>
                <c:pt idx="66">
                  <c:v>457183</c:v>
                </c:pt>
                <c:pt idx="67">
                  <c:v>457553</c:v>
                </c:pt>
                <c:pt idx="68">
                  <c:v>460037</c:v>
                </c:pt>
                <c:pt idx="69">
                  <c:v>464273</c:v>
                </c:pt>
                <c:pt idx="70">
                  <c:v>465499</c:v>
                </c:pt>
                <c:pt idx="71">
                  <c:v>478079</c:v>
                </c:pt>
                <c:pt idx="72">
                  <c:v>490227</c:v>
                </c:pt>
                <c:pt idx="73">
                  <c:v>509975</c:v>
                </c:pt>
                <c:pt idx="74">
                  <c:v>534367</c:v>
                </c:pt>
                <c:pt idx="75">
                  <c:v>548649</c:v>
                </c:pt>
                <c:pt idx="76">
                  <c:v>551884</c:v>
                </c:pt>
                <c:pt idx="77">
                  <c:v>550358</c:v>
                </c:pt>
                <c:pt idx="78">
                  <c:v>549328</c:v>
                </c:pt>
                <c:pt idx="79">
                  <c:v>543764</c:v>
                </c:pt>
                <c:pt idx="80">
                  <c:v>541937</c:v>
                </c:pt>
                <c:pt idx="81">
                  <c:v>540569</c:v>
                </c:pt>
                <c:pt idx="82">
                  <c:v>537228</c:v>
                </c:pt>
                <c:pt idx="83">
                  <c:v>527147</c:v>
                </c:pt>
                <c:pt idx="84">
                  <c:v>525680</c:v>
                </c:pt>
                <c:pt idx="85">
                  <c:v>519573</c:v>
                </c:pt>
                <c:pt idx="86">
                  <c:v>516216</c:v>
                </c:pt>
                <c:pt idx="87">
                  <c:v>509770</c:v>
                </c:pt>
                <c:pt idx="88">
                  <c:v>510980</c:v>
                </c:pt>
                <c:pt idx="89">
                  <c:v>502837</c:v>
                </c:pt>
                <c:pt idx="90">
                  <c:v>497371</c:v>
                </c:pt>
                <c:pt idx="91">
                  <c:v>491044</c:v>
                </c:pt>
                <c:pt idx="92">
                  <c:v>483293</c:v>
                </c:pt>
                <c:pt idx="93">
                  <c:v>482034</c:v>
                </c:pt>
                <c:pt idx="94">
                  <c:v>476860</c:v>
                </c:pt>
                <c:pt idx="95">
                  <c:v>472976</c:v>
                </c:pt>
                <c:pt idx="96">
                  <c:v>457939</c:v>
                </c:pt>
                <c:pt idx="97">
                  <c:v>456362</c:v>
                </c:pt>
                <c:pt idx="98">
                  <c:v>453733</c:v>
                </c:pt>
                <c:pt idx="99">
                  <c:v>455289</c:v>
                </c:pt>
                <c:pt idx="100">
                  <c:v>450962</c:v>
                </c:pt>
                <c:pt idx="101">
                  <c:v>445356</c:v>
                </c:pt>
                <c:pt idx="102">
                  <c:v>439419</c:v>
                </c:pt>
                <c:pt idx="103">
                  <c:v>436189</c:v>
                </c:pt>
                <c:pt idx="104">
                  <c:v>431503</c:v>
                </c:pt>
                <c:pt idx="105">
                  <c:v>422470</c:v>
                </c:pt>
                <c:pt idx="106">
                  <c:v>417990</c:v>
                </c:pt>
                <c:pt idx="107">
                  <c:v>40677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2</c:v>
                </c:pt>
                <c:pt idx="1">
                  <c:v>0.02</c:v>
                </c:pt>
                <c:pt idx="2">
                  <c:v>0.01</c:v>
                </c:pt>
                <c:pt idx="3">
                  <c:v>0.01</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2</c:v>
                </c:pt>
                <c:pt idx="38">
                  <c:v>0.02</c:v>
                </c:pt>
                <c:pt idx="39">
                  <c:v>0.01</c:v>
                </c:pt>
                <c:pt idx="40">
                  <c:v>0.01</c:v>
                </c:pt>
                <c:pt idx="41">
                  <c:v>0.01</c:v>
                </c:pt>
                <c:pt idx="42">
                  <c:v>0.01</c:v>
                </c:pt>
                <c:pt idx="43">
                  <c:v>0.01</c:v>
                </c:pt>
                <c:pt idx="44">
                  <c:v>0.01</c:v>
                </c:pt>
                <c:pt idx="45">
                  <c:v>0.01</c:v>
                </c:pt>
                <c:pt idx="46">
                  <c:v>0</c:v>
                </c:pt>
                <c:pt idx="47">
                  <c:v>0</c:v>
                </c:pt>
                <c:pt idx="48">
                  <c:v>0</c:v>
                </c:pt>
                <c:pt idx="49">
                  <c:v>0.01</c:v>
                </c:pt>
                <c:pt idx="50">
                  <c:v>0.01</c:v>
                </c:pt>
                <c:pt idx="51">
                  <c:v>0.01</c:v>
                </c:pt>
                <c:pt idx="52">
                  <c:v>0.02</c:v>
                </c:pt>
                <c:pt idx="53">
                  <c:v>0.05</c:v>
                </c:pt>
                <c:pt idx="54">
                  <c:v>0.04</c:v>
                </c:pt>
                <c:pt idx="55">
                  <c:v>0.04</c:v>
                </c:pt>
                <c:pt idx="56">
                  <c:v>0.04</c:v>
                </c:pt>
                <c:pt idx="57">
                  <c:v>0.05</c:v>
                </c:pt>
                <c:pt idx="58">
                  <c:v>0.05</c:v>
                </c:pt>
                <c:pt idx="59">
                  <c:v>0.03</c:v>
                </c:pt>
                <c:pt idx="60">
                  <c:v>0.01</c:v>
                </c:pt>
                <c:pt idx="61">
                  <c:v>0</c:v>
                </c:pt>
                <c:pt idx="62">
                  <c:v>0</c:v>
                </c:pt>
                <c:pt idx="63">
                  <c:v>0.01</c:v>
                </c:pt>
                <c:pt idx="64">
                  <c:v>0.01</c:v>
                </c:pt>
                <c:pt idx="65">
                  <c:v>0.11</c:v>
                </c:pt>
                <c:pt idx="66">
                  <c:v>0.19</c:v>
                </c:pt>
                <c:pt idx="67">
                  <c:v>0.2</c:v>
                </c:pt>
                <c:pt idx="68">
                  <c:v>0.2</c:v>
                </c:pt>
                <c:pt idx="69">
                  <c:v>0.21</c:v>
                </c:pt>
                <c:pt idx="70">
                  <c:v>0.21</c:v>
                </c:pt>
                <c:pt idx="71">
                  <c:v>0.21</c:v>
                </c:pt>
                <c:pt idx="72">
                  <c:v>0.21</c:v>
                </c:pt>
                <c:pt idx="73">
                  <c:v>0.21</c:v>
                </c:pt>
                <c:pt idx="74">
                  <c:v>0.21</c:v>
                </c:pt>
                <c:pt idx="75">
                  <c:v>0.21</c:v>
                </c:pt>
                <c:pt idx="76">
                  <c:v>0.18</c:v>
                </c:pt>
                <c:pt idx="77">
                  <c:v>0.03</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1</c:v>
                </c:pt>
                <c:pt idx="102">
                  <c:v>0.01</c:v>
                </c:pt>
                <c:pt idx="103">
                  <c:v>0.01</c:v>
                </c:pt>
                <c:pt idx="104">
                  <c:v>0.01</c:v>
                </c:pt>
                <c:pt idx="105">
                  <c:v>0.01</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452</c:v>
                </c:pt>
                <c:pt idx="1">
                  <c:v>21005</c:v>
                </c:pt>
                <c:pt idx="2">
                  <c:v>22600</c:v>
                </c:pt>
                <c:pt idx="3">
                  <c:v>15098</c:v>
                </c:pt>
                <c:pt idx="4">
                  <c:v>10905</c:v>
                </c:pt>
                <c:pt idx="5">
                  <c:v>9902</c:v>
                </c:pt>
                <c:pt idx="6">
                  <c:v>13313</c:v>
                </c:pt>
                <c:pt idx="7">
                  <c:v>29457</c:v>
                </c:pt>
                <c:pt idx="8">
                  <c:v>12281</c:v>
                </c:pt>
                <c:pt idx="9">
                  <c:v>12400</c:v>
                </c:pt>
                <c:pt idx="10">
                  <c:v>26712</c:v>
                </c:pt>
                <c:pt idx="11">
                  <c:v>16837</c:v>
                </c:pt>
                <c:pt idx="12">
                  <c:v>9033</c:v>
                </c:pt>
                <c:pt idx="13">
                  <c:v>9138</c:v>
                </c:pt>
                <c:pt idx="14">
                  <c:v>12862</c:v>
                </c:pt>
                <c:pt idx="15">
                  <c:v>33527</c:v>
                </c:pt>
                <c:pt idx="16">
                  <c:v>13219</c:v>
                </c:pt>
                <c:pt idx="17">
                  <c:v>2003</c:v>
                </c:pt>
                <c:pt idx="18">
                  <c:v>3035</c:v>
                </c:pt>
                <c:pt idx="19">
                  <c:v>2768</c:v>
                </c:pt>
                <c:pt idx="20">
                  <c:v>3396</c:v>
                </c:pt>
                <c:pt idx="21">
                  <c:v>1003</c:v>
                </c:pt>
                <c:pt idx="22">
                  <c:v>782</c:v>
                </c:pt>
                <c:pt idx="23">
                  <c:v>822</c:v>
                </c:pt>
                <c:pt idx="24">
                  <c:v>435</c:v>
                </c:pt>
                <c:pt idx="25">
                  <c:v>671</c:v>
                </c:pt>
                <c:pt idx="26">
                  <c:v>759</c:v>
                </c:pt>
                <c:pt idx="27">
                  <c:v>7212</c:v>
                </c:pt>
                <c:pt idx="28">
                  <c:v>23168</c:v>
                </c:pt>
                <c:pt idx="29">
                  <c:v>10796</c:v>
                </c:pt>
                <c:pt idx="30">
                  <c:v>9974</c:v>
                </c:pt>
                <c:pt idx="31">
                  <c:v>8525</c:v>
                </c:pt>
                <c:pt idx="32">
                  <c:v>8674</c:v>
                </c:pt>
                <c:pt idx="33">
                  <c:v>8566</c:v>
                </c:pt>
                <c:pt idx="34">
                  <c:v>6299</c:v>
                </c:pt>
                <c:pt idx="35">
                  <c:v>2328</c:v>
                </c:pt>
                <c:pt idx="36">
                  <c:v>1491</c:v>
                </c:pt>
                <c:pt idx="37">
                  <c:v>1006</c:v>
                </c:pt>
                <c:pt idx="38">
                  <c:v>3821</c:v>
                </c:pt>
                <c:pt idx="39">
                  <c:v>7302</c:v>
                </c:pt>
                <c:pt idx="40">
                  <c:v>41486</c:v>
                </c:pt>
                <c:pt idx="41">
                  <c:v>48060</c:v>
                </c:pt>
                <c:pt idx="42">
                  <c:v>52758</c:v>
                </c:pt>
                <c:pt idx="43">
                  <c:v>60694</c:v>
                </c:pt>
                <c:pt idx="44">
                  <c:v>63375</c:v>
                </c:pt>
                <c:pt idx="45">
                  <c:v>75506</c:v>
                </c:pt>
                <c:pt idx="46">
                  <c:v>126668</c:v>
                </c:pt>
                <c:pt idx="47">
                  <c:v>124147</c:v>
                </c:pt>
                <c:pt idx="48">
                  <c:v>169430</c:v>
                </c:pt>
                <c:pt idx="49">
                  <c:v>260071</c:v>
                </c:pt>
                <c:pt idx="50">
                  <c:v>515709</c:v>
                </c:pt>
                <c:pt idx="51">
                  <c:v>731707</c:v>
                </c:pt>
                <c:pt idx="52">
                  <c:v>67755</c:v>
                </c:pt>
                <c:pt idx="53">
                  <c:v>15925</c:v>
                </c:pt>
                <c:pt idx="54">
                  <c:v>6050</c:v>
                </c:pt>
                <c:pt idx="55">
                  <c:v>3232</c:v>
                </c:pt>
                <c:pt idx="56">
                  <c:v>1874</c:v>
                </c:pt>
                <c:pt idx="57">
                  <c:v>1706</c:v>
                </c:pt>
                <c:pt idx="58">
                  <c:v>11461</c:v>
                </c:pt>
                <c:pt idx="59">
                  <c:v>31638</c:v>
                </c:pt>
                <c:pt idx="60">
                  <c:v>20067</c:v>
                </c:pt>
                <c:pt idx="61">
                  <c:v>17803</c:v>
                </c:pt>
                <c:pt idx="62">
                  <c:v>20460</c:v>
                </c:pt>
                <c:pt idx="63">
                  <c:v>34287</c:v>
                </c:pt>
                <c:pt idx="64">
                  <c:v>19494</c:v>
                </c:pt>
                <c:pt idx="65">
                  <c:v>16351</c:v>
                </c:pt>
                <c:pt idx="66">
                  <c:v>19375</c:v>
                </c:pt>
                <c:pt idx="67">
                  <c:v>35571</c:v>
                </c:pt>
                <c:pt idx="68">
                  <c:v>18538</c:v>
                </c:pt>
                <c:pt idx="69">
                  <c:v>17384</c:v>
                </c:pt>
                <c:pt idx="70">
                  <c:v>15968</c:v>
                </c:pt>
                <c:pt idx="71">
                  <c:v>18504</c:v>
                </c:pt>
                <c:pt idx="72">
                  <c:v>19682</c:v>
                </c:pt>
                <c:pt idx="73">
                  <c:v>98</c:v>
                </c:pt>
                <c:pt idx="74">
                  <c:v>769</c:v>
                </c:pt>
                <c:pt idx="75">
                  <c:v>190</c:v>
                </c:pt>
                <c:pt idx="76">
                  <c:v>313</c:v>
                </c:pt>
                <c:pt idx="77">
                  <c:v>131</c:v>
                </c:pt>
                <c:pt idx="78">
                  <c:v>1019</c:v>
                </c:pt>
                <c:pt idx="79">
                  <c:v>8672</c:v>
                </c:pt>
                <c:pt idx="80">
                  <c:v>16596</c:v>
                </c:pt>
                <c:pt idx="81">
                  <c:v>17981</c:v>
                </c:pt>
                <c:pt idx="82">
                  <c:v>17413</c:v>
                </c:pt>
                <c:pt idx="83">
                  <c:v>4099</c:v>
                </c:pt>
                <c:pt idx="84">
                  <c:v>3252</c:v>
                </c:pt>
                <c:pt idx="85">
                  <c:v>712</c:v>
                </c:pt>
                <c:pt idx="86">
                  <c:v>2217</c:v>
                </c:pt>
                <c:pt idx="87">
                  <c:v>712</c:v>
                </c:pt>
                <c:pt idx="88">
                  <c:v>765</c:v>
                </c:pt>
                <c:pt idx="89">
                  <c:v>756</c:v>
                </c:pt>
                <c:pt idx="90">
                  <c:v>3492</c:v>
                </c:pt>
                <c:pt idx="91">
                  <c:v>8404</c:v>
                </c:pt>
                <c:pt idx="92">
                  <c:v>19913</c:v>
                </c:pt>
                <c:pt idx="93">
                  <c:v>38222</c:v>
                </c:pt>
                <c:pt idx="94">
                  <c:v>37545</c:v>
                </c:pt>
                <c:pt idx="95">
                  <c:v>34961</c:v>
                </c:pt>
                <c:pt idx="96">
                  <c:v>44319</c:v>
                </c:pt>
                <c:pt idx="97">
                  <c:v>53538</c:v>
                </c:pt>
                <c:pt idx="98">
                  <c:v>66493</c:v>
                </c:pt>
                <c:pt idx="99">
                  <c:v>107195</c:v>
                </c:pt>
                <c:pt idx="100">
                  <c:v>117801</c:v>
                </c:pt>
                <c:pt idx="101">
                  <c:v>162782</c:v>
                </c:pt>
                <c:pt idx="102">
                  <c:v>255107</c:v>
                </c:pt>
                <c:pt idx="103">
                  <c:v>457574</c:v>
                </c:pt>
                <c:pt idx="104">
                  <c:v>8791</c:v>
                </c:pt>
                <c:pt idx="105">
                  <c:v>2066</c:v>
                </c:pt>
                <c:pt idx="106">
                  <c:v>1129</c:v>
                </c:pt>
                <c:pt idx="107">
                  <c:v>80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6408</c:v>
                </c:pt>
                <c:pt idx="1">
                  <c:v>67865</c:v>
                </c:pt>
                <c:pt idx="2">
                  <c:v>67393</c:v>
                </c:pt>
                <c:pt idx="3">
                  <c:v>67451</c:v>
                </c:pt>
                <c:pt idx="4">
                  <c:v>69267</c:v>
                </c:pt>
                <c:pt idx="5">
                  <c:v>74626</c:v>
                </c:pt>
                <c:pt idx="6">
                  <c:v>68126</c:v>
                </c:pt>
                <c:pt idx="7">
                  <c:v>70310</c:v>
                </c:pt>
                <c:pt idx="8">
                  <c:v>80423</c:v>
                </c:pt>
                <c:pt idx="9">
                  <c:v>71738</c:v>
                </c:pt>
                <c:pt idx="10">
                  <c:v>74299</c:v>
                </c:pt>
                <c:pt idx="11">
                  <c:v>74837</c:v>
                </c:pt>
                <c:pt idx="12">
                  <c:v>77387</c:v>
                </c:pt>
                <c:pt idx="13">
                  <c:v>86179</c:v>
                </c:pt>
                <c:pt idx="14">
                  <c:v>72955</c:v>
                </c:pt>
                <c:pt idx="15">
                  <c:v>73785</c:v>
                </c:pt>
                <c:pt idx="16">
                  <c:v>76399</c:v>
                </c:pt>
                <c:pt idx="17">
                  <c:v>88592</c:v>
                </c:pt>
                <c:pt idx="18">
                  <c:v>82075</c:v>
                </c:pt>
                <c:pt idx="19">
                  <c:v>81758</c:v>
                </c:pt>
                <c:pt idx="20">
                  <c:v>92026</c:v>
                </c:pt>
                <c:pt idx="21">
                  <c:v>87455</c:v>
                </c:pt>
                <c:pt idx="22">
                  <c:v>85973</c:v>
                </c:pt>
                <c:pt idx="23">
                  <c:v>85534</c:v>
                </c:pt>
                <c:pt idx="24">
                  <c:v>87605</c:v>
                </c:pt>
                <c:pt idx="25">
                  <c:v>84982</c:v>
                </c:pt>
                <c:pt idx="26">
                  <c:v>89332</c:v>
                </c:pt>
                <c:pt idx="27">
                  <c:v>80422</c:v>
                </c:pt>
                <c:pt idx="28">
                  <c:v>78242</c:v>
                </c:pt>
                <c:pt idx="29">
                  <c:v>83438</c:v>
                </c:pt>
                <c:pt idx="30">
                  <c:v>85315</c:v>
                </c:pt>
                <c:pt idx="31">
                  <c:v>79564</c:v>
                </c:pt>
                <c:pt idx="32">
                  <c:v>83024</c:v>
                </c:pt>
                <c:pt idx="33">
                  <c:v>83996</c:v>
                </c:pt>
                <c:pt idx="34">
                  <c:v>95633</c:v>
                </c:pt>
                <c:pt idx="35">
                  <c:v>98772</c:v>
                </c:pt>
                <c:pt idx="36">
                  <c:v>87224</c:v>
                </c:pt>
                <c:pt idx="37">
                  <c:v>83940</c:v>
                </c:pt>
                <c:pt idx="38">
                  <c:v>77500</c:v>
                </c:pt>
                <c:pt idx="39">
                  <c:v>77036</c:v>
                </c:pt>
                <c:pt idx="40">
                  <c:v>68899</c:v>
                </c:pt>
                <c:pt idx="41">
                  <c:v>73325</c:v>
                </c:pt>
                <c:pt idx="42">
                  <c:v>70397</c:v>
                </c:pt>
                <c:pt idx="43">
                  <c:v>69127</c:v>
                </c:pt>
                <c:pt idx="44">
                  <c:v>77759</c:v>
                </c:pt>
                <c:pt idx="45">
                  <c:v>72492</c:v>
                </c:pt>
                <c:pt idx="46">
                  <c:v>68645</c:v>
                </c:pt>
                <c:pt idx="47">
                  <c:v>72768</c:v>
                </c:pt>
                <c:pt idx="48">
                  <c:v>73913</c:v>
                </c:pt>
                <c:pt idx="49">
                  <c:v>54443</c:v>
                </c:pt>
                <c:pt idx="50">
                  <c:v>53301</c:v>
                </c:pt>
                <c:pt idx="51">
                  <c:v>37537</c:v>
                </c:pt>
                <c:pt idx="52">
                  <c:v>35710</c:v>
                </c:pt>
                <c:pt idx="53">
                  <c:v>38126</c:v>
                </c:pt>
                <c:pt idx="54">
                  <c:v>64526</c:v>
                </c:pt>
                <c:pt idx="55">
                  <c:v>75213</c:v>
                </c:pt>
                <c:pt idx="56">
                  <c:v>79866</c:v>
                </c:pt>
                <c:pt idx="57">
                  <c:v>88059</c:v>
                </c:pt>
                <c:pt idx="58">
                  <c:v>76929</c:v>
                </c:pt>
                <c:pt idx="59">
                  <c:v>80350</c:v>
                </c:pt>
                <c:pt idx="60">
                  <c:v>80667</c:v>
                </c:pt>
                <c:pt idx="61">
                  <c:v>76931</c:v>
                </c:pt>
                <c:pt idx="62">
                  <c:v>69718</c:v>
                </c:pt>
                <c:pt idx="63">
                  <c:v>70663</c:v>
                </c:pt>
                <c:pt idx="64">
                  <c:v>74092</c:v>
                </c:pt>
                <c:pt idx="65">
                  <c:v>75245</c:v>
                </c:pt>
                <c:pt idx="66">
                  <c:v>66806</c:v>
                </c:pt>
                <c:pt idx="67">
                  <c:v>69368</c:v>
                </c:pt>
                <c:pt idx="68">
                  <c:v>67389</c:v>
                </c:pt>
                <c:pt idx="69">
                  <c:v>71693</c:v>
                </c:pt>
                <c:pt idx="70">
                  <c:v>68955</c:v>
                </c:pt>
                <c:pt idx="71">
                  <c:v>67054</c:v>
                </c:pt>
                <c:pt idx="72">
                  <c:v>81620</c:v>
                </c:pt>
                <c:pt idx="73">
                  <c:v>88257</c:v>
                </c:pt>
                <c:pt idx="74">
                  <c:v>95224</c:v>
                </c:pt>
                <c:pt idx="75">
                  <c:v>91741</c:v>
                </c:pt>
                <c:pt idx="76">
                  <c:v>94488</c:v>
                </c:pt>
                <c:pt idx="77">
                  <c:v>93512</c:v>
                </c:pt>
                <c:pt idx="78">
                  <c:v>98903</c:v>
                </c:pt>
                <c:pt idx="79">
                  <c:v>84562</c:v>
                </c:pt>
                <c:pt idx="80">
                  <c:v>80604</c:v>
                </c:pt>
                <c:pt idx="81">
                  <c:v>75258</c:v>
                </c:pt>
                <c:pt idx="82">
                  <c:v>75132</c:v>
                </c:pt>
                <c:pt idx="83">
                  <c:v>85783</c:v>
                </c:pt>
                <c:pt idx="84">
                  <c:v>86220</c:v>
                </c:pt>
                <c:pt idx="85">
                  <c:v>86762</c:v>
                </c:pt>
                <c:pt idx="86">
                  <c:v>83347</c:v>
                </c:pt>
                <c:pt idx="87">
                  <c:v>84818</c:v>
                </c:pt>
                <c:pt idx="88">
                  <c:v>79117</c:v>
                </c:pt>
                <c:pt idx="89">
                  <c:v>81043</c:v>
                </c:pt>
                <c:pt idx="90">
                  <c:v>71722</c:v>
                </c:pt>
                <c:pt idx="91">
                  <c:v>76042</c:v>
                </c:pt>
                <c:pt idx="92">
                  <c:v>66006</c:v>
                </c:pt>
                <c:pt idx="93">
                  <c:v>63165</c:v>
                </c:pt>
                <c:pt idx="94">
                  <c:v>67202</c:v>
                </c:pt>
                <c:pt idx="95">
                  <c:v>73555</c:v>
                </c:pt>
                <c:pt idx="96">
                  <c:v>76113</c:v>
                </c:pt>
                <c:pt idx="97">
                  <c:v>71069</c:v>
                </c:pt>
                <c:pt idx="98">
                  <c:v>69944</c:v>
                </c:pt>
                <c:pt idx="99">
                  <c:v>68462</c:v>
                </c:pt>
                <c:pt idx="100">
                  <c:v>75628</c:v>
                </c:pt>
                <c:pt idx="101">
                  <c:v>72803</c:v>
                </c:pt>
                <c:pt idx="102">
                  <c:v>80857</c:v>
                </c:pt>
                <c:pt idx="103">
                  <c:v>88548</c:v>
                </c:pt>
                <c:pt idx="104">
                  <c:v>67225</c:v>
                </c:pt>
                <c:pt idx="105">
                  <c:v>63850</c:v>
                </c:pt>
                <c:pt idx="106">
                  <c:v>72422</c:v>
                </c:pt>
                <c:pt idx="107">
                  <c:v>6845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08860</c:v>
                </c:pt>
                <c:pt idx="1">
                  <c:v>88870</c:v>
                </c:pt>
                <c:pt idx="2">
                  <c:v>89993</c:v>
                </c:pt>
                <c:pt idx="3">
                  <c:v>82549</c:v>
                </c:pt>
                <c:pt idx="4">
                  <c:v>80172</c:v>
                </c:pt>
                <c:pt idx="5">
                  <c:v>84528</c:v>
                </c:pt>
                <c:pt idx="6">
                  <c:v>81439</c:v>
                </c:pt>
                <c:pt idx="7">
                  <c:v>99767</c:v>
                </c:pt>
                <c:pt idx="8">
                  <c:v>92704</c:v>
                </c:pt>
                <c:pt idx="9">
                  <c:v>84138</c:v>
                </c:pt>
                <c:pt idx="10">
                  <c:v>101011</c:v>
                </c:pt>
                <c:pt idx="11">
                  <c:v>91674</c:v>
                </c:pt>
                <c:pt idx="12">
                  <c:v>86420</c:v>
                </c:pt>
                <c:pt idx="13">
                  <c:v>95317</c:v>
                </c:pt>
                <c:pt idx="14">
                  <c:v>85817</c:v>
                </c:pt>
                <c:pt idx="15">
                  <c:v>107312</c:v>
                </c:pt>
                <c:pt idx="16">
                  <c:v>89618</c:v>
                </c:pt>
                <c:pt idx="17">
                  <c:v>90595</c:v>
                </c:pt>
                <c:pt idx="18">
                  <c:v>85110</c:v>
                </c:pt>
                <c:pt idx="19">
                  <c:v>84526</c:v>
                </c:pt>
                <c:pt idx="20">
                  <c:v>95422</c:v>
                </c:pt>
                <c:pt idx="21">
                  <c:v>88458</c:v>
                </c:pt>
                <c:pt idx="22">
                  <c:v>86755</c:v>
                </c:pt>
                <c:pt idx="23">
                  <c:v>86356</c:v>
                </c:pt>
                <c:pt idx="24">
                  <c:v>88040</c:v>
                </c:pt>
                <c:pt idx="25">
                  <c:v>85653</c:v>
                </c:pt>
                <c:pt idx="26">
                  <c:v>90091</c:v>
                </c:pt>
                <c:pt idx="27">
                  <c:v>87634</c:v>
                </c:pt>
                <c:pt idx="28">
                  <c:v>101410</c:v>
                </c:pt>
                <c:pt idx="29">
                  <c:v>94234</c:v>
                </c:pt>
                <c:pt idx="30">
                  <c:v>95289</c:v>
                </c:pt>
                <c:pt idx="31">
                  <c:v>88089</c:v>
                </c:pt>
                <c:pt idx="32">
                  <c:v>91698</c:v>
                </c:pt>
                <c:pt idx="33">
                  <c:v>92562</c:v>
                </c:pt>
                <c:pt idx="34">
                  <c:v>101932</c:v>
                </c:pt>
                <c:pt idx="35">
                  <c:v>101100</c:v>
                </c:pt>
                <c:pt idx="36">
                  <c:v>88715</c:v>
                </c:pt>
                <c:pt idx="37">
                  <c:v>84946</c:v>
                </c:pt>
                <c:pt idx="38">
                  <c:v>81321</c:v>
                </c:pt>
                <c:pt idx="39">
                  <c:v>84338</c:v>
                </c:pt>
                <c:pt idx="40">
                  <c:v>110385</c:v>
                </c:pt>
                <c:pt idx="41">
                  <c:v>121385</c:v>
                </c:pt>
                <c:pt idx="42">
                  <c:v>123155</c:v>
                </c:pt>
                <c:pt idx="43">
                  <c:v>129821</c:v>
                </c:pt>
                <c:pt idx="44">
                  <c:v>141134</c:v>
                </c:pt>
                <c:pt idx="45">
                  <c:v>147998</c:v>
                </c:pt>
                <c:pt idx="46">
                  <c:v>195313</c:v>
                </c:pt>
                <c:pt idx="47">
                  <c:v>196915</c:v>
                </c:pt>
                <c:pt idx="48">
                  <c:v>243343</c:v>
                </c:pt>
                <c:pt idx="49">
                  <c:v>314514</c:v>
                </c:pt>
                <c:pt idx="50">
                  <c:v>569010</c:v>
                </c:pt>
                <c:pt idx="51">
                  <c:v>769244</c:v>
                </c:pt>
                <c:pt idx="52">
                  <c:v>103465</c:v>
                </c:pt>
                <c:pt idx="53">
                  <c:v>54051</c:v>
                </c:pt>
                <c:pt idx="54">
                  <c:v>70576</c:v>
                </c:pt>
                <c:pt idx="55">
                  <c:v>78445</c:v>
                </c:pt>
                <c:pt idx="56">
                  <c:v>81740</c:v>
                </c:pt>
                <c:pt idx="57">
                  <c:v>89765</c:v>
                </c:pt>
                <c:pt idx="58">
                  <c:v>88390</c:v>
                </c:pt>
                <c:pt idx="59">
                  <c:v>111988</c:v>
                </c:pt>
                <c:pt idx="60">
                  <c:v>100734</c:v>
                </c:pt>
                <c:pt idx="61">
                  <c:v>94734</c:v>
                </c:pt>
                <c:pt idx="62">
                  <c:v>90178</c:v>
                </c:pt>
                <c:pt idx="63">
                  <c:v>104950</c:v>
                </c:pt>
                <c:pt idx="64">
                  <c:v>93586</c:v>
                </c:pt>
                <c:pt idx="65">
                  <c:v>91596</c:v>
                </c:pt>
                <c:pt idx="66">
                  <c:v>86181</c:v>
                </c:pt>
                <c:pt idx="67">
                  <c:v>104939</c:v>
                </c:pt>
                <c:pt idx="68">
                  <c:v>85927</c:v>
                </c:pt>
                <c:pt idx="69">
                  <c:v>89077</c:v>
                </c:pt>
                <c:pt idx="70">
                  <c:v>84923</c:v>
                </c:pt>
                <c:pt idx="71">
                  <c:v>85558</c:v>
                </c:pt>
                <c:pt idx="72">
                  <c:v>101302</c:v>
                </c:pt>
                <c:pt idx="73">
                  <c:v>88355</c:v>
                </c:pt>
                <c:pt idx="74">
                  <c:v>95993</c:v>
                </c:pt>
                <c:pt idx="75">
                  <c:v>91931</c:v>
                </c:pt>
                <c:pt idx="76">
                  <c:v>94801</c:v>
                </c:pt>
                <c:pt idx="77">
                  <c:v>93643</c:v>
                </c:pt>
                <c:pt idx="78">
                  <c:v>99922</c:v>
                </c:pt>
                <c:pt idx="79">
                  <c:v>93234</c:v>
                </c:pt>
                <c:pt idx="80">
                  <c:v>97200</c:v>
                </c:pt>
                <c:pt idx="81">
                  <c:v>93239</c:v>
                </c:pt>
                <c:pt idx="82">
                  <c:v>92545</c:v>
                </c:pt>
                <c:pt idx="83">
                  <c:v>89882</c:v>
                </c:pt>
                <c:pt idx="84">
                  <c:v>89472</c:v>
                </c:pt>
                <c:pt idx="85">
                  <c:v>87474</c:v>
                </c:pt>
                <c:pt idx="86">
                  <c:v>85564</c:v>
                </c:pt>
                <c:pt idx="87">
                  <c:v>85530</c:v>
                </c:pt>
                <c:pt idx="88">
                  <c:v>79882</c:v>
                </c:pt>
                <c:pt idx="89">
                  <c:v>81799</c:v>
                </c:pt>
                <c:pt idx="90">
                  <c:v>75214</c:v>
                </c:pt>
                <c:pt idx="91">
                  <c:v>84446</c:v>
                </c:pt>
                <c:pt idx="92">
                  <c:v>85919</c:v>
                </c:pt>
                <c:pt idx="93">
                  <c:v>101387</c:v>
                </c:pt>
                <c:pt idx="94">
                  <c:v>104747</c:v>
                </c:pt>
                <c:pt idx="95">
                  <c:v>108516</c:v>
                </c:pt>
                <c:pt idx="96">
                  <c:v>120432</c:v>
                </c:pt>
                <c:pt idx="97">
                  <c:v>124607</c:v>
                </c:pt>
                <c:pt idx="98">
                  <c:v>136437</c:v>
                </c:pt>
                <c:pt idx="99">
                  <c:v>175657</c:v>
                </c:pt>
                <c:pt idx="100">
                  <c:v>193429</c:v>
                </c:pt>
                <c:pt idx="101">
                  <c:v>235585</c:v>
                </c:pt>
                <c:pt idx="102">
                  <c:v>335964</c:v>
                </c:pt>
                <c:pt idx="103">
                  <c:v>546122</c:v>
                </c:pt>
                <c:pt idx="104">
                  <c:v>76016</c:v>
                </c:pt>
                <c:pt idx="105">
                  <c:v>65916</c:v>
                </c:pt>
                <c:pt idx="106">
                  <c:v>73551</c:v>
                </c:pt>
                <c:pt idx="107">
                  <c:v>692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72916</c:v>
                </c:pt>
                <c:pt idx="1">
                  <c:v>73773</c:v>
                </c:pt>
                <c:pt idx="2">
                  <c:v>74993</c:v>
                </c:pt>
                <c:pt idx="3">
                  <c:v>75940</c:v>
                </c:pt>
                <c:pt idx="4">
                  <c:v>78055</c:v>
                </c:pt>
                <c:pt idx="5">
                  <c:v>80934</c:v>
                </c:pt>
                <c:pt idx="6">
                  <c:v>82790</c:v>
                </c:pt>
                <c:pt idx="7">
                  <c:v>85698</c:v>
                </c:pt>
                <c:pt idx="8">
                  <c:v>87707</c:v>
                </c:pt>
                <c:pt idx="9">
                  <c:v>89152</c:v>
                </c:pt>
                <c:pt idx="10">
                  <c:v>88515</c:v>
                </c:pt>
                <c:pt idx="11">
                  <c:v>89196</c:v>
                </c:pt>
                <c:pt idx="12">
                  <c:v>90359</c:v>
                </c:pt>
                <c:pt idx="13">
                  <c:v>90026</c:v>
                </c:pt>
                <c:pt idx="14">
                  <c:v>92313</c:v>
                </c:pt>
                <c:pt idx="15">
                  <c:v>90811</c:v>
                </c:pt>
                <c:pt idx="16">
                  <c:v>89718</c:v>
                </c:pt>
                <c:pt idx="17">
                  <c:v>90549</c:v>
                </c:pt>
                <c:pt idx="18">
                  <c:v>90211</c:v>
                </c:pt>
                <c:pt idx="19">
                  <c:v>90114</c:v>
                </c:pt>
                <c:pt idx="20">
                  <c:v>88221</c:v>
                </c:pt>
                <c:pt idx="21">
                  <c:v>87922</c:v>
                </c:pt>
                <c:pt idx="22">
                  <c:v>87436</c:v>
                </c:pt>
                <c:pt idx="23">
                  <c:v>88058</c:v>
                </c:pt>
                <c:pt idx="24">
                  <c:v>88429</c:v>
                </c:pt>
                <c:pt idx="25">
                  <c:v>89297</c:v>
                </c:pt>
                <c:pt idx="26">
                  <c:v>89922</c:v>
                </c:pt>
                <c:pt idx="27">
                  <c:v>90324</c:v>
                </c:pt>
                <c:pt idx="28">
                  <c:v>91072</c:v>
                </c:pt>
                <c:pt idx="29">
                  <c:v>91512</c:v>
                </c:pt>
                <c:pt idx="30">
                  <c:v>92143</c:v>
                </c:pt>
                <c:pt idx="31">
                  <c:v>93839</c:v>
                </c:pt>
                <c:pt idx="32">
                  <c:v>95076</c:v>
                </c:pt>
                <c:pt idx="33">
                  <c:v>93565</c:v>
                </c:pt>
                <c:pt idx="34">
                  <c:v>92925</c:v>
                </c:pt>
                <c:pt idx="35">
                  <c:v>91315</c:v>
                </c:pt>
                <c:pt idx="36">
                  <c:v>90812</c:v>
                </c:pt>
                <c:pt idx="37">
                  <c:v>90276</c:v>
                </c:pt>
                <c:pt idx="38">
                  <c:v>88839</c:v>
                </c:pt>
                <c:pt idx="39">
                  <c:v>85848</c:v>
                </c:pt>
                <c:pt idx="40">
                  <c:v>106570</c:v>
                </c:pt>
                <c:pt idx="41">
                  <c:v>122305</c:v>
                </c:pt>
                <c:pt idx="42">
                  <c:v>124218</c:v>
                </c:pt>
                <c:pt idx="43">
                  <c:v>129014</c:v>
                </c:pt>
                <c:pt idx="44">
                  <c:v>132841</c:v>
                </c:pt>
                <c:pt idx="45">
                  <c:v>134922</c:v>
                </c:pt>
                <c:pt idx="46">
                  <c:v>144120</c:v>
                </c:pt>
                <c:pt idx="47">
                  <c:v>145094</c:v>
                </c:pt>
                <c:pt idx="48">
                  <c:v>145976</c:v>
                </c:pt>
                <c:pt idx="49">
                  <c:v>141392</c:v>
                </c:pt>
                <c:pt idx="50">
                  <c:v>138648</c:v>
                </c:pt>
                <c:pt idx="51">
                  <c:v>153382</c:v>
                </c:pt>
                <c:pt idx="52">
                  <c:v>123602</c:v>
                </c:pt>
                <c:pt idx="53">
                  <c:v>88678</c:v>
                </c:pt>
                <c:pt idx="54">
                  <c:v>69887</c:v>
                </c:pt>
                <c:pt idx="55">
                  <c:v>66706</c:v>
                </c:pt>
                <c:pt idx="56">
                  <c:v>73687</c:v>
                </c:pt>
                <c:pt idx="57">
                  <c:v>83808</c:v>
                </c:pt>
                <c:pt idx="58">
                  <c:v>88589</c:v>
                </c:pt>
                <c:pt idx="59">
                  <c:v>91660</c:v>
                </c:pt>
                <c:pt idx="60">
                  <c:v>94014</c:v>
                </c:pt>
                <c:pt idx="61">
                  <c:v>95897</c:v>
                </c:pt>
                <c:pt idx="62">
                  <c:v>95765</c:v>
                </c:pt>
                <c:pt idx="63">
                  <c:v>95859</c:v>
                </c:pt>
                <c:pt idx="64">
                  <c:v>94609</c:v>
                </c:pt>
                <c:pt idx="65">
                  <c:v>93093</c:v>
                </c:pt>
                <c:pt idx="66">
                  <c:v>92435</c:v>
                </c:pt>
                <c:pt idx="67">
                  <c:v>92082</c:v>
                </c:pt>
                <c:pt idx="68">
                  <c:v>89763</c:v>
                </c:pt>
                <c:pt idx="69">
                  <c:v>90270</c:v>
                </c:pt>
                <c:pt idx="70">
                  <c:v>90301</c:v>
                </c:pt>
                <c:pt idx="71">
                  <c:v>91184</c:v>
                </c:pt>
                <c:pt idx="72">
                  <c:v>90882</c:v>
                </c:pt>
                <c:pt idx="73">
                  <c:v>91456</c:v>
                </c:pt>
                <c:pt idx="74">
                  <c:v>91987</c:v>
                </c:pt>
                <c:pt idx="75">
                  <c:v>93885</c:v>
                </c:pt>
                <c:pt idx="76">
                  <c:v>94736</c:v>
                </c:pt>
                <c:pt idx="77">
                  <c:v>94266</c:v>
                </c:pt>
                <c:pt idx="78">
                  <c:v>94862</c:v>
                </c:pt>
                <c:pt idx="79">
                  <c:v>94513</c:v>
                </c:pt>
                <c:pt idx="80">
                  <c:v>94194</c:v>
                </c:pt>
                <c:pt idx="81">
                  <c:v>93049</c:v>
                </c:pt>
                <c:pt idx="82">
                  <c:v>92693</c:v>
                </c:pt>
                <c:pt idx="83">
                  <c:v>90902</c:v>
                </c:pt>
                <c:pt idx="84">
                  <c:v>90034</c:v>
                </c:pt>
                <c:pt idx="85">
                  <c:v>87988</c:v>
                </c:pt>
                <c:pt idx="86">
                  <c:v>86513</c:v>
                </c:pt>
                <c:pt idx="87">
                  <c:v>84411</c:v>
                </c:pt>
                <c:pt idx="88">
                  <c:v>83823</c:v>
                </c:pt>
                <c:pt idx="89">
                  <c:v>82499</c:v>
                </c:pt>
                <c:pt idx="90">
                  <c:v>81417</c:v>
                </c:pt>
                <c:pt idx="91">
                  <c:v>80312</c:v>
                </c:pt>
                <c:pt idx="92">
                  <c:v>84233</c:v>
                </c:pt>
                <c:pt idx="93">
                  <c:v>100303</c:v>
                </c:pt>
                <c:pt idx="94">
                  <c:v>105735</c:v>
                </c:pt>
                <c:pt idx="95">
                  <c:v>111155</c:v>
                </c:pt>
                <c:pt idx="96">
                  <c:v>118652</c:v>
                </c:pt>
                <c:pt idx="97">
                  <c:v>126601</c:v>
                </c:pt>
                <c:pt idx="98">
                  <c:v>136682</c:v>
                </c:pt>
                <c:pt idx="99">
                  <c:v>137767</c:v>
                </c:pt>
                <c:pt idx="100">
                  <c:v>139086</c:v>
                </c:pt>
                <c:pt idx="101">
                  <c:v>138252</c:v>
                </c:pt>
                <c:pt idx="102">
                  <c:v>137779</c:v>
                </c:pt>
                <c:pt idx="103">
                  <c:v>138303</c:v>
                </c:pt>
                <c:pt idx="104">
                  <c:v>93067</c:v>
                </c:pt>
                <c:pt idx="105">
                  <c:v>76560</c:v>
                </c:pt>
                <c:pt idx="106">
                  <c:v>75334</c:v>
                </c:pt>
                <c:pt idx="107">
                  <c:v>7383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64</c:v>
                </c:pt>
                <c:pt idx="1">
                  <c:v>0.44</c:v>
                </c:pt>
                <c:pt idx="2">
                  <c:v>0.43</c:v>
                </c:pt>
                <c:pt idx="3">
                  <c:v>0.34</c:v>
                </c:pt>
                <c:pt idx="4">
                  <c:v>0.25</c:v>
                </c:pt>
                <c:pt idx="5">
                  <c:v>0.2</c:v>
                </c:pt>
                <c:pt idx="6">
                  <c:v>0.21</c:v>
                </c:pt>
                <c:pt idx="7">
                  <c:v>0.36</c:v>
                </c:pt>
                <c:pt idx="8">
                  <c:v>0.16</c:v>
                </c:pt>
                <c:pt idx="9">
                  <c:v>0.18</c:v>
                </c:pt>
                <c:pt idx="10">
                  <c:v>0.31</c:v>
                </c:pt>
                <c:pt idx="11">
                  <c:v>0.21</c:v>
                </c:pt>
                <c:pt idx="12">
                  <c:v>0.13</c:v>
                </c:pt>
                <c:pt idx="13">
                  <c:v>0.11</c:v>
                </c:pt>
                <c:pt idx="14">
                  <c:v>0.18</c:v>
                </c:pt>
                <c:pt idx="15">
                  <c:v>0.36</c:v>
                </c:pt>
                <c:pt idx="16">
                  <c:v>0.18</c:v>
                </c:pt>
                <c:pt idx="17">
                  <c:v>0.04</c:v>
                </c:pt>
                <c:pt idx="18">
                  <c:v>0.06</c:v>
                </c:pt>
                <c:pt idx="19">
                  <c:v>0.05</c:v>
                </c:pt>
                <c:pt idx="20">
                  <c:v>0.09</c:v>
                </c:pt>
                <c:pt idx="21">
                  <c:v>0.02</c:v>
                </c:pt>
                <c:pt idx="22">
                  <c:v>0.01</c:v>
                </c:pt>
                <c:pt idx="23">
                  <c:v>0.02</c:v>
                </c:pt>
                <c:pt idx="24">
                  <c:v>0.01</c:v>
                </c:pt>
                <c:pt idx="25">
                  <c:v>0.01</c:v>
                </c:pt>
                <c:pt idx="26">
                  <c:v>0.01</c:v>
                </c:pt>
                <c:pt idx="27">
                  <c:v>0.09</c:v>
                </c:pt>
                <c:pt idx="28">
                  <c:v>0.26</c:v>
                </c:pt>
                <c:pt idx="29">
                  <c:v>0.15</c:v>
                </c:pt>
                <c:pt idx="30">
                  <c:v>0.12</c:v>
                </c:pt>
                <c:pt idx="31">
                  <c:v>0.11</c:v>
                </c:pt>
                <c:pt idx="32">
                  <c:v>0.11</c:v>
                </c:pt>
                <c:pt idx="33">
                  <c:v>0.1</c:v>
                </c:pt>
                <c:pt idx="34">
                  <c:v>0.08</c:v>
                </c:pt>
                <c:pt idx="35">
                  <c:v>0.02</c:v>
                </c:pt>
                <c:pt idx="36">
                  <c:v>0.02</c:v>
                </c:pt>
                <c:pt idx="37">
                  <c:v>0.01</c:v>
                </c:pt>
                <c:pt idx="38">
                  <c:v>0.05</c:v>
                </c:pt>
                <c:pt idx="39">
                  <c:v>0.09</c:v>
                </c:pt>
                <c:pt idx="40">
                  <c:v>0.43</c:v>
                </c:pt>
                <c:pt idx="41">
                  <c:v>0.46</c:v>
                </c:pt>
                <c:pt idx="42">
                  <c:v>0.49</c:v>
                </c:pt>
                <c:pt idx="43">
                  <c:v>0.53</c:v>
                </c:pt>
                <c:pt idx="44">
                  <c:v>0.51</c:v>
                </c:pt>
                <c:pt idx="45">
                  <c:v>0.56999999999999995</c:v>
                </c:pt>
                <c:pt idx="46">
                  <c:v>0.7</c:v>
                </c:pt>
                <c:pt idx="47">
                  <c:v>0.68</c:v>
                </c:pt>
                <c:pt idx="48">
                  <c:v>0.73</c:v>
                </c:pt>
                <c:pt idx="49">
                  <c:v>0.86</c:v>
                </c:pt>
                <c:pt idx="50">
                  <c:v>0.91</c:v>
                </c:pt>
                <c:pt idx="51">
                  <c:v>0.97</c:v>
                </c:pt>
                <c:pt idx="52">
                  <c:v>0.77</c:v>
                </c:pt>
                <c:pt idx="53">
                  <c:v>0.39</c:v>
                </c:pt>
                <c:pt idx="54">
                  <c:v>0.14000000000000001</c:v>
                </c:pt>
                <c:pt idx="55">
                  <c:v>0.08</c:v>
                </c:pt>
                <c:pt idx="56">
                  <c:v>0.04</c:v>
                </c:pt>
                <c:pt idx="57">
                  <c:v>0.03</c:v>
                </c:pt>
                <c:pt idx="58">
                  <c:v>0.15</c:v>
                </c:pt>
                <c:pt idx="59">
                  <c:v>0.34</c:v>
                </c:pt>
                <c:pt idx="60">
                  <c:v>0.23</c:v>
                </c:pt>
                <c:pt idx="61">
                  <c:v>0.22</c:v>
                </c:pt>
                <c:pt idx="62">
                  <c:v>0.24</c:v>
                </c:pt>
                <c:pt idx="63">
                  <c:v>0.39</c:v>
                </c:pt>
                <c:pt idx="64">
                  <c:v>0.22</c:v>
                </c:pt>
                <c:pt idx="65">
                  <c:v>0.22</c:v>
                </c:pt>
                <c:pt idx="66">
                  <c:v>0.25</c:v>
                </c:pt>
                <c:pt idx="67">
                  <c:v>0.37</c:v>
                </c:pt>
                <c:pt idx="68">
                  <c:v>0.24</c:v>
                </c:pt>
                <c:pt idx="69">
                  <c:v>0.21</c:v>
                </c:pt>
                <c:pt idx="70">
                  <c:v>0.21</c:v>
                </c:pt>
                <c:pt idx="71">
                  <c:v>0.24</c:v>
                </c:pt>
                <c:pt idx="72">
                  <c:v>0.23</c:v>
                </c:pt>
                <c:pt idx="73">
                  <c:v>0</c:v>
                </c:pt>
                <c:pt idx="74">
                  <c:v>0.01</c:v>
                </c:pt>
                <c:pt idx="75">
                  <c:v>0</c:v>
                </c:pt>
                <c:pt idx="76">
                  <c:v>0</c:v>
                </c:pt>
                <c:pt idx="77">
                  <c:v>0</c:v>
                </c:pt>
                <c:pt idx="78">
                  <c:v>0.01</c:v>
                </c:pt>
                <c:pt idx="79">
                  <c:v>0.1</c:v>
                </c:pt>
                <c:pt idx="80">
                  <c:v>0.21</c:v>
                </c:pt>
                <c:pt idx="81">
                  <c:v>0.21</c:v>
                </c:pt>
                <c:pt idx="82">
                  <c:v>0.21</c:v>
                </c:pt>
                <c:pt idx="83">
                  <c:v>0.05</c:v>
                </c:pt>
                <c:pt idx="84">
                  <c:v>0.04</c:v>
                </c:pt>
                <c:pt idx="85">
                  <c:v>0.01</c:v>
                </c:pt>
                <c:pt idx="86">
                  <c:v>0.03</c:v>
                </c:pt>
                <c:pt idx="87">
                  <c:v>0.01</c:v>
                </c:pt>
                <c:pt idx="88">
                  <c:v>0.01</c:v>
                </c:pt>
                <c:pt idx="89">
                  <c:v>0.01</c:v>
                </c:pt>
                <c:pt idx="90">
                  <c:v>0.05</c:v>
                </c:pt>
                <c:pt idx="91">
                  <c:v>0.12</c:v>
                </c:pt>
                <c:pt idx="92">
                  <c:v>0.25</c:v>
                </c:pt>
                <c:pt idx="93">
                  <c:v>0.4</c:v>
                </c:pt>
                <c:pt idx="94">
                  <c:v>0.37</c:v>
                </c:pt>
                <c:pt idx="95">
                  <c:v>0.32</c:v>
                </c:pt>
                <c:pt idx="96">
                  <c:v>0.36</c:v>
                </c:pt>
                <c:pt idx="97">
                  <c:v>0.43</c:v>
                </c:pt>
                <c:pt idx="98">
                  <c:v>0.48</c:v>
                </c:pt>
                <c:pt idx="99">
                  <c:v>0.61</c:v>
                </c:pt>
                <c:pt idx="100">
                  <c:v>0.61</c:v>
                </c:pt>
                <c:pt idx="101">
                  <c:v>0.69</c:v>
                </c:pt>
                <c:pt idx="102">
                  <c:v>0.76</c:v>
                </c:pt>
                <c:pt idx="103">
                  <c:v>0.89</c:v>
                </c:pt>
                <c:pt idx="104">
                  <c:v>0.24</c:v>
                </c:pt>
                <c:pt idx="105">
                  <c:v>7.0000000000000007E-2</c:v>
                </c:pt>
                <c:pt idx="106">
                  <c:v>0.04</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246</c:v>
                </c:pt>
                <c:pt idx="1">
                  <c:v>20921</c:v>
                </c:pt>
                <c:pt idx="2">
                  <c:v>22475</c:v>
                </c:pt>
                <c:pt idx="3">
                  <c:v>14977</c:v>
                </c:pt>
                <c:pt idx="4">
                  <c:v>10854</c:v>
                </c:pt>
                <c:pt idx="5">
                  <c:v>9352</c:v>
                </c:pt>
                <c:pt idx="6">
                  <c:v>12959</c:v>
                </c:pt>
                <c:pt idx="7">
                  <c:v>29121</c:v>
                </c:pt>
                <c:pt idx="8">
                  <c:v>12087</c:v>
                </c:pt>
                <c:pt idx="9">
                  <c:v>12068</c:v>
                </c:pt>
                <c:pt idx="10">
                  <c:v>26350</c:v>
                </c:pt>
                <c:pt idx="11">
                  <c:v>16367</c:v>
                </c:pt>
                <c:pt idx="12">
                  <c:v>8284</c:v>
                </c:pt>
                <c:pt idx="13">
                  <c:v>8474</c:v>
                </c:pt>
                <c:pt idx="14">
                  <c:v>12648</c:v>
                </c:pt>
                <c:pt idx="15">
                  <c:v>32925</c:v>
                </c:pt>
                <c:pt idx="16">
                  <c:v>12607</c:v>
                </c:pt>
                <c:pt idx="17">
                  <c:v>1590</c:v>
                </c:pt>
                <c:pt idx="18">
                  <c:v>2661</c:v>
                </c:pt>
                <c:pt idx="19">
                  <c:v>2380</c:v>
                </c:pt>
                <c:pt idx="20">
                  <c:v>2951</c:v>
                </c:pt>
                <c:pt idx="21">
                  <c:v>792</c:v>
                </c:pt>
                <c:pt idx="22">
                  <c:v>255</c:v>
                </c:pt>
                <c:pt idx="23">
                  <c:v>462</c:v>
                </c:pt>
                <c:pt idx="24">
                  <c:v>149</c:v>
                </c:pt>
                <c:pt idx="25">
                  <c:v>443</c:v>
                </c:pt>
                <c:pt idx="26">
                  <c:v>432</c:v>
                </c:pt>
                <c:pt idx="27">
                  <c:v>6852</c:v>
                </c:pt>
                <c:pt idx="28">
                  <c:v>22746</c:v>
                </c:pt>
                <c:pt idx="29">
                  <c:v>10300</c:v>
                </c:pt>
                <c:pt idx="30">
                  <c:v>9507</c:v>
                </c:pt>
                <c:pt idx="31">
                  <c:v>8324</c:v>
                </c:pt>
                <c:pt idx="32">
                  <c:v>8289</c:v>
                </c:pt>
                <c:pt idx="33">
                  <c:v>8188</c:v>
                </c:pt>
                <c:pt idx="34">
                  <c:v>6002</c:v>
                </c:pt>
                <c:pt idx="35">
                  <c:v>1820</c:v>
                </c:pt>
                <c:pt idx="36">
                  <c:v>1023</c:v>
                </c:pt>
                <c:pt idx="37">
                  <c:v>529</c:v>
                </c:pt>
                <c:pt idx="38">
                  <c:v>3439</c:v>
                </c:pt>
                <c:pt idx="39">
                  <c:v>6735</c:v>
                </c:pt>
                <c:pt idx="40">
                  <c:v>35646</c:v>
                </c:pt>
                <c:pt idx="41">
                  <c:v>37932</c:v>
                </c:pt>
                <c:pt idx="42">
                  <c:v>41191</c:v>
                </c:pt>
                <c:pt idx="43">
                  <c:v>47917</c:v>
                </c:pt>
                <c:pt idx="44">
                  <c:v>47131</c:v>
                </c:pt>
                <c:pt idx="45">
                  <c:v>55689</c:v>
                </c:pt>
                <c:pt idx="46">
                  <c:v>89084</c:v>
                </c:pt>
                <c:pt idx="47">
                  <c:v>88415</c:v>
                </c:pt>
                <c:pt idx="48">
                  <c:v>113951</c:v>
                </c:pt>
                <c:pt idx="49">
                  <c:v>170333</c:v>
                </c:pt>
                <c:pt idx="50">
                  <c:v>295401</c:v>
                </c:pt>
                <c:pt idx="51">
                  <c:v>291838</c:v>
                </c:pt>
                <c:pt idx="52">
                  <c:v>7698</c:v>
                </c:pt>
                <c:pt idx="53">
                  <c:v>11244</c:v>
                </c:pt>
                <c:pt idx="54">
                  <c:v>4511</c:v>
                </c:pt>
                <c:pt idx="55">
                  <c:v>2334</c:v>
                </c:pt>
                <c:pt idx="56">
                  <c:v>1456</c:v>
                </c:pt>
                <c:pt idx="57">
                  <c:v>1254</c:v>
                </c:pt>
                <c:pt idx="58">
                  <c:v>11250</c:v>
                </c:pt>
                <c:pt idx="59">
                  <c:v>31534</c:v>
                </c:pt>
                <c:pt idx="60">
                  <c:v>20009</c:v>
                </c:pt>
                <c:pt idx="61">
                  <c:v>17736</c:v>
                </c:pt>
                <c:pt idx="62">
                  <c:v>20421</c:v>
                </c:pt>
                <c:pt idx="63">
                  <c:v>34044</c:v>
                </c:pt>
                <c:pt idx="64">
                  <c:v>19466</c:v>
                </c:pt>
                <c:pt idx="65">
                  <c:v>16299</c:v>
                </c:pt>
                <c:pt idx="66">
                  <c:v>19337</c:v>
                </c:pt>
                <c:pt idx="67">
                  <c:v>35541</c:v>
                </c:pt>
                <c:pt idx="68">
                  <c:v>18524</c:v>
                </c:pt>
                <c:pt idx="69">
                  <c:v>17376</c:v>
                </c:pt>
                <c:pt idx="70">
                  <c:v>15927</c:v>
                </c:pt>
                <c:pt idx="71">
                  <c:v>18467</c:v>
                </c:pt>
                <c:pt idx="72">
                  <c:v>19674</c:v>
                </c:pt>
                <c:pt idx="73">
                  <c:v>98</c:v>
                </c:pt>
                <c:pt idx="74">
                  <c:v>769</c:v>
                </c:pt>
                <c:pt idx="75">
                  <c:v>178</c:v>
                </c:pt>
                <c:pt idx="76">
                  <c:v>310</c:v>
                </c:pt>
                <c:pt idx="77">
                  <c:v>127</c:v>
                </c:pt>
                <c:pt idx="78">
                  <c:v>1015</c:v>
                </c:pt>
                <c:pt idx="79">
                  <c:v>8668</c:v>
                </c:pt>
                <c:pt idx="80">
                  <c:v>16592</c:v>
                </c:pt>
                <c:pt idx="81">
                  <c:v>17973</c:v>
                </c:pt>
                <c:pt idx="82">
                  <c:v>17405</c:v>
                </c:pt>
                <c:pt idx="83">
                  <c:v>4099</c:v>
                </c:pt>
                <c:pt idx="84">
                  <c:v>3252</c:v>
                </c:pt>
                <c:pt idx="85">
                  <c:v>712</c:v>
                </c:pt>
                <c:pt idx="86">
                  <c:v>2217</c:v>
                </c:pt>
                <c:pt idx="87">
                  <c:v>704</c:v>
                </c:pt>
                <c:pt idx="88">
                  <c:v>742</c:v>
                </c:pt>
                <c:pt idx="89">
                  <c:v>748</c:v>
                </c:pt>
                <c:pt idx="90">
                  <c:v>3492</c:v>
                </c:pt>
                <c:pt idx="91">
                  <c:v>8386</c:v>
                </c:pt>
                <c:pt idx="92">
                  <c:v>19901</c:v>
                </c:pt>
                <c:pt idx="93">
                  <c:v>38222</c:v>
                </c:pt>
                <c:pt idx="94">
                  <c:v>37535</c:v>
                </c:pt>
                <c:pt idx="95">
                  <c:v>34961</c:v>
                </c:pt>
                <c:pt idx="96">
                  <c:v>44305</c:v>
                </c:pt>
                <c:pt idx="97">
                  <c:v>53531</c:v>
                </c:pt>
                <c:pt idx="98">
                  <c:v>66493</c:v>
                </c:pt>
                <c:pt idx="99">
                  <c:v>107195</c:v>
                </c:pt>
                <c:pt idx="100">
                  <c:v>117801</c:v>
                </c:pt>
                <c:pt idx="101">
                  <c:v>162782</c:v>
                </c:pt>
                <c:pt idx="102">
                  <c:v>255092</c:v>
                </c:pt>
                <c:pt idx="103">
                  <c:v>457574</c:v>
                </c:pt>
                <c:pt idx="104">
                  <c:v>8754</c:v>
                </c:pt>
                <c:pt idx="105">
                  <c:v>2036</c:v>
                </c:pt>
                <c:pt idx="106">
                  <c:v>1084</c:v>
                </c:pt>
                <c:pt idx="107">
                  <c:v>72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5934</c:v>
                </c:pt>
                <c:pt idx="1">
                  <c:v>66396</c:v>
                </c:pt>
                <c:pt idx="2">
                  <c:v>63096</c:v>
                </c:pt>
                <c:pt idx="3">
                  <c:v>59268</c:v>
                </c:pt>
                <c:pt idx="4">
                  <c:v>59971</c:v>
                </c:pt>
                <c:pt idx="5">
                  <c:v>65177</c:v>
                </c:pt>
                <c:pt idx="6">
                  <c:v>59897</c:v>
                </c:pt>
                <c:pt idx="7">
                  <c:v>60871</c:v>
                </c:pt>
                <c:pt idx="8">
                  <c:v>69217</c:v>
                </c:pt>
                <c:pt idx="9">
                  <c:v>62708</c:v>
                </c:pt>
                <c:pt idx="10">
                  <c:v>65546</c:v>
                </c:pt>
                <c:pt idx="11">
                  <c:v>66112</c:v>
                </c:pt>
                <c:pt idx="12">
                  <c:v>67837</c:v>
                </c:pt>
                <c:pt idx="13">
                  <c:v>74892</c:v>
                </c:pt>
                <c:pt idx="14">
                  <c:v>61387</c:v>
                </c:pt>
                <c:pt idx="15">
                  <c:v>62739</c:v>
                </c:pt>
                <c:pt idx="16">
                  <c:v>66217</c:v>
                </c:pt>
                <c:pt idx="17">
                  <c:v>77171</c:v>
                </c:pt>
                <c:pt idx="18">
                  <c:v>71576</c:v>
                </c:pt>
                <c:pt idx="19">
                  <c:v>70921</c:v>
                </c:pt>
                <c:pt idx="20">
                  <c:v>81305</c:v>
                </c:pt>
                <c:pt idx="21">
                  <c:v>77279</c:v>
                </c:pt>
                <c:pt idx="22">
                  <c:v>75611</c:v>
                </c:pt>
                <c:pt idx="23">
                  <c:v>74544</c:v>
                </c:pt>
                <c:pt idx="24">
                  <c:v>75962</c:v>
                </c:pt>
                <c:pt idx="25">
                  <c:v>74655</c:v>
                </c:pt>
                <c:pt idx="26">
                  <c:v>78231</c:v>
                </c:pt>
                <c:pt idx="27">
                  <c:v>70252</c:v>
                </c:pt>
                <c:pt idx="28">
                  <c:v>67456</c:v>
                </c:pt>
                <c:pt idx="29">
                  <c:v>73610</c:v>
                </c:pt>
                <c:pt idx="30">
                  <c:v>74690</c:v>
                </c:pt>
                <c:pt idx="31">
                  <c:v>69175</c:v>
                </c:pt>
                <c:pt idx="32">
                  <c:v>72344</c:v>
                </c:pt>
                <c:pt idx="33">
                  <c:v>73541</c:v>
                </c:pt>
                <c:pt idx="34">
                  <c:v>85723</c:v>
                </c:pt>
                <c:pt idx="35">
                  <c:v>89953</c:v>
                </c:pt>
                <c:pt idx="36">
                  <c:v>79030</c:v>
                </c:pt>
                <c:pt idx="37">
                  <c:v>75170</c:v>
                </c:pt>
                <c:pt idx="38">
                  <c:v>68915</c:v>
                </c:pt>
                <c:pt idx="39">
                  <c:v>68645</c:v>
                </c:pt>
                <c:pt idx="40">
                  <c:v>60594</c:v>
                </c:pt>
                <c:pt idx="41">
                  <c:v>65182</c:v>
                </c:pt>
                <c:pt idx="42">
                  <c:v>62631</c:v>
                </c:pt>
                <c:pt idx="43">
                  <c:v>61641</c:v>
                </c:pt>
                <c:pt idx="44">
                  <c:v>70092</c:v>
                </c:pt>
                <c:pt idx="45">
                  <c:v>65121</c:v>
                </c:pt>
                <c:pt idx="46">
                  <c:v>62359</c:v>
                </c:pt>
                <c:pt idx="47">
                  <c:v>66067</c:v>
                </c:pt>
                <c:pt idx="48">
                  <c:v>68095</c:v>
                </c:pt>
                <c:pt idx="49">
                  <c:v>50389</c:v>
                </c:pt>
                <c:pt idx="50">
                  <c:v>50106</c:v>
                </c:pt>
                <c:pt idx="51">
                  <c:v>33236</c:v>
                </c:pt>
                <c:pt idx="52">
                  <c:v>33313</c:v>
                </c:pt>
                <c:pt idx="53">
                  <c:v>37637</c:v>
                </c:pt>
                <c:pt idx="54">
                  <c:v>64349</c:v>
                </c:pt>
                <c:pt idx="55">
                  <c:v>75192</c:v>
                </c:pt>
                <c:pt idx="56">
                  <c:v>79829</c:v>
                </c:pt>
                <c:pt idx="57">
                  <c:v>88015</c:v>
                </c:pt>
                <c:pt idx="58">
                  <c:v>76894</c:v>
                </c:pt>
                <c:pt idx="59">
                  <c:v>80264</c:v>
                </c:pt>
                <c:pt idx="60">
                  <c:v>80616</c:v>
                </c:pt>
                <c:pt idx="61">
                  <c:v>76897</c:v>
                </c:pt>
                <c:pt idx="62">
                  <c:v>69657</c:v>
                </c:pt>
                <c:pt idx="63">
                  <c:v>70641</c:v>
                </c:pt>
                <c:pt idx="64">
                  <c:v>74048</c:v>
                </c:pt>
                <c:pt idx="65">
                  <c:v>75240</c:v>
                </c:pt>
                <c:pt idx="66">
                  <c:v>66796</c:v>
                </c:pt>
                <c:pt idx="67">
                  <c:v>69361</c:v>
                </c:pt>
                <c:pt idx="68">
                  <c:v>67389</c:v>
                </c:pt>
                <c:pt idx="69">
                  <c:v>71669</c:v>
                </c:pt>
                <c:pt idx="70">
                  <c:v>68916</c:v>
                </c:pt>
                <c:pt idx="71">
                  <c:v>67038</c:v>
                </c:pt>
                <c:pt idx="72">
                  <c:v>81617</c:v>
                </c:pt>
                <c:pt idx="73">
                  <c:v>88217</c:v>
                </c:pt>
                <c:pt idx="74">
                  <c:v>95212</c:v>
                </c:pt>
                <c:pt idx="75">
                  <c:v>91741</c:v>
                </c:pt>
                <c:pt idx="76">
                  <c:v>94488</c:v>
                </c:pt>
                <c:pt idx="77">
                  <c:v>93512</c:v>
                </c:pt>
                <c:pt idx="78">
                  <c:v>98903</c:v>
                </c:pt>
                <c:pt idx="79">
                  <c:v>84562</c:v>
                </c:pt>
                <c:pt idx="80">
                  <c:v>80600</c:v>
                </c:pt>
                <c:pt idx="81">
                  <c:v>75258</c:v>
                </c:pt>
                <c:pt idx="82">
                  <c:v>75132</c:v>
                </c:pt>
                <c:pt idx="83">
                  <c:v>85783</c:v>
                </c:pt>
                <c:pt idx="84">
                  <c:v>86220</c:v>
                </c:pt>
                <c:pt idx="85">
                  <c:v>86762</c:v>
                </c:pt>
                <c:pt idx="86">
                  <c:v>83347</c:v>
                </c:pt>
                <c:pt idx="87">
                  <c:v>84818</c:v>
                </c:pt>
                <c:pt idx="88">
                  <c:v>79099</c:v>
                </c:pt>
                <c:pt idx="89">
                  <c:v>81043</c:v>
                </c:pt>
                <c:pt idx="90">
                  <c:v>71686</c:v>
                </c:pt>
                <c:pt idx="91">
                  <c:v>76042</c:v>
                </c:pt>
                <c:pt idx="92">
                  <c:v>66002</c:v>
                </c:pt>
                <c:pt idx="93">
                  <c:v>63165</c:v>
                </c:pt>
                <c:pt idx="94">
                  <c:v>67202</c:v>
                </c:pt>
                <c:pt idx="95">
                  <c:v>73555</c:v>
                </c:pt>
                <c:pt idx="96">
                  <c:v>76100</c:v>
                </c:pt>
                <c:pt idx="97">
                  <c:v>71069</c:v>
                </c:pt>
                <c:pt idx="98">
                  <c:v>69944</c:v>
                </c:pt>
                <c:pt idx="99">
                  <c:v>68462</c:v>
                </c:pt>
                <c:pt idx="100">
                  <c:v>75628</c:v>
                </c:pt>
                <c:pt idx="101">
                  <c:v>72803</c:v>
                </c:pt>
                <c:pt idx="102">
                  <c:v>80848</c:v>
                </c:pt>
                <c:pt idx="103">
                  <c:v>88449</c:v>
                </c:pt>
                <c:pt idx="104">
                  <c:v>67012</c:v>
                </c:pt>
                <c:pt idx="105">
                  <c:v>63067</c:v>
                </c:pt>
                <c:pt idx="106">
                  <c:v>68585</c:v>
                </c:pt>
                <c:pt idx="107">
                  <c:v>6211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08180</c:v>
                </c:pt>
                <c:pt idx="1">
                  <c:v>87317</c:v>
                </c:pt>
                <c:pt idx="2">
                  <c:v>85571</c:v>
                </c:pt>
                <c:pt idx="3">
                  <c:v>74245</c:v>
                </c:pt>
                <c:pt idx="4">
                  <c:v>70825</c:v>
                </c:pt>
                <c:pt idx="5">
                  <c:v>74529</c:v>
                </c:pt>
                <c:pt idx="6">
                  <c:v>72856</c:v>
                </c:pt>
                <c:pt idx="7">
                  <c:v>89992</c:v>
                </c:pt>
                <c:pt idx="8">
                  <c:v>81304</c:v>
                </c:pt>
                <c:pt idx="9">
                  <c:v>74776</c:v>
                </c:pt>
                <c:pt idx="10">
                  <c:v>91896</c:v>
                </c:pt>
                <c:pt idx="11">
                  <c:v>82479</c:v>
                </c:pt>
                <c:pt idx="12">
                  <c:v>76121</c:v>
                </c:pt>
                <c:pt idx="13">
                  <c:v>83366</c:v>
                </c:pt>
                <c:pt idx="14">
                  <c:v>74035</c:v>
                </c:pt>
                <c:pt idx="15">
                  <c:v>95664</c:v>
                </c:pt>
                <c:pt idx="16">
                  <c:v>78824</c:v>
                </c:pt>
                <c:pt idx="17">
                  <c:v>78761</c:v>
                </c:pt>
                <c:pt idx="18">
                  <c:v>74237</c:v>
                </c:pt>
                <c:pt idx="19">
                  <c:v>73301</c:v>
                </c:pt>
                <c:pt idx="20">
                  <c:v>84256</c:v>
                </c:pt>
                <c:pt idx="21">
                  <c:v>78071</c:v>
                </c:pt>
                <c:pt idx="22">
                  <c:v>75866</c:v>
                </c:pt>
                <c:pt idx="23">
                  <c:v>75006</c:v>
                </c:pt>
                <c:pt idx="24">
                  <c:v>76111</c:v>
                </c:pt>
                <c:pt idx="25">
                  <c:v>75098</c:v>
                </c:pt>
                <c:pt idx="26">
                  <c:v>78663</c:v>
                </c:pt>
                <c:pt idx="27">
                  <c:v>77104</c:v>
                </c:pt>
                <c:pt idx="28">
                  <c:v>90202</c:v>
                </c:pt>
                <c:pt idx="29">
                  <c:v>83910</c:v>
                </c:pt>
                <c:pt idx="30">
                  <c:v>84197</c:v>
                </c:pt>
                <c:pt idx="31">
                  <c:v>77499</c:v>
                </c:pt>
                <c:pt idx="32">
                  <c:v>80633</c:v>
                </c:pt>
                <c:pt idx="33">
                  <c:v>81729</c:v>
                </c:pt>
                <c:pt idx="34">
                  <c:v>91725</c:v>
                </c:pt>
                <c:pt idx="35">
                  <c:v>91773</c:v>
                </c:pt>
                <c:pt idx="36">
                  <c:v>80053</c:v>
                </c:pt>
                <c:pt idx="37">
                  <c:v>75699</c:v>
                </c:pt>
                <c:pt idx="38">
                  <c:v>72354</c:v>
                </c:pt>
                <c:pt idx="39">
                  <c:v>75380</c:v>
                </c:pt>
                <c:pt idx="40">
                  <c:v>96240</c:v>
                </c:pt>
                <c:pt idx="41">
                  <c:v>103114</c:v>
                </c:pt>
                <c:pt idx="42">
                  <c:v>103822</c:v>
                </c:pt>
                <c:pt idx="43">
                  <c:v>109558</c:v>
                </c:pt>
                <c:pt idx="44">
                  <c:v>117223</c:v>
                </c:pt>
                <c:pt idx="45">
                  <c:v>120810</c:v>
                </c:pt>
                <c:pt idx="46">
                  <c:v>151443</c:v>
                </c:pt>
                <c:pt idx="47">
                  <c:v>154482</c:v>
                </c:pt>
                <c:pt idx="48">
                  <c:v>182046</c:v>
                </c:pt>
                <c:pt idx="49">
                  <c:v>220722</c:v>
                </c:pt>
                <c:pt idx="50">
                  <c:v>345507</c:v>
                </c:pt>
                <c:pt idx="51">
                  <c:v>325074</c:v>
                </c:pt>
                <c:pt idx="52">
                  <c:v>41011</c:v>
                </c:pt>
                <c:pt idx="53">
                  <c:v>48881</c:v>
                </c:pt>
                <c:pt idx="54">
                  <c:v>68860</c:v>
                </c:pt>
                <c:pt idx="55">
                  <c:v>77526</c:v>
                </c:pt>
                <c:pt idx="56">
                  <c:v>81285</c:v>
                </c:pt>
                <c:pt idx="57">
                  <c:v>89269</c:v>
                </c:pt>
                <c:pt idx="58">
                  <c:v>88144</c:v>
                </c:pt>
                <c:pt idx="59">
                  <c:v>111798</c:v>
                </c:pt>
                <c:pt idx="60">
                  <c:v>100625</c:v>
                </c:pt>
                <c:pt idx="61">
                  <c:v>94633</c:v>
                </c:pt>
                <c:pt idx="62">
                  <c:v>90078</c:v>
                </c:pt>
                <c:pt idx="63">
                  <c:v>104685</c:v>
                </c:pt>
                <c:pt idx="64">
                  <c:v>93514</c:v>
                </c:pt>
                <c:pt idx="65">
                  <c:v>91539</c:v>
                </c:pt>
                <c:pt idx="66">
                  <c:v>86133</c:v>
                </c:pt>
                <c:pt idx="67">
                  <c:v>104902</c:v>
                </c:pt>
                <c:pt idx="68">
                  <c:v>85913</c:v>
                </c:pt>
                <c:pt idx="69">
                  <c:v>89045</c:v>
                </c:pt>
                <c:pt idx="70">
                  <c:v>84843</c:v>
                </c:pt>
                <c:pt idx="71">
                  <c:v>85505</c:v>
                </c:pt>
                <c:pt idx="72">
                  <c:v>101291</c:v>
                </c:pt>
                <c:pt idx="73">
                  <c:v>88315</c:v>
                </c:pt>
                <c:pt idx="74">
                  <c:v>95981</c:v>
                </c:pt>
                <c:pt idx="75">
                  <c:v>91919</c:v>
                </c:pt>
                <c:pt idx="76">
                  <c:v>94798</c:v>
                </c:pt>
                <c:pt idx="77">
                  <c:v>93639</c:v>
                </c:pt>
                <c:pt idx="78">
                  <c:v>99918</c:v>
                </c:pt>
                <c:pt idx="79">
                  <c:v>93230</c:v>
                </c:pt>
                <c:pt idx="80">
                  <c:v>97192</c:v>
                </c:pt>
                <c:pt idx="81">
                  <c:v>93231</c:v>
                </c:pt>
                <c:pt idx="82">
                  <c:v>92537</c:v>
                </c:pt>
                <c:pt idx="83">
                  <c:v>89882</c:v>
                </c:pt>
                <c:pt idx="84">
                  <c:v>89472</c:v>
                </c:pt>
                <c:pt idx="85">
                  <c:v>87474</c:v>
                </c:pt>
                <c:pt idx="86">
                  <c:v>85564</c:v>
                </c:pt>
                <c:pt idx="87">
                  <c:v>85522</c:v>
                </c:pt>
                <c:pt idx="88">
                  <c:v>79841</c:v>
                </c:pt>
                <c:pt idx="89">
                  <c:v>81791</c:v>
                </c:pt>
                <c:pt idx="90">
                  <c:v>75178</c:v>
                </c:pt>
                <c:pt idx="91">
                  <c:v>84428</c:v>
                </c:pt>
                <c:pt idx="92">
                  <c:v>85903</c:v>
                </c:pt>
                <c:pt idx="93">
                  <c:v>101387</c:v>
                </c:pt>
                <c:pt idx="94">
                  <c:v>104737</c:v>
                </c:pt>
                <c:pt idx="95">
                  <c:v>108516</c:v>
                </c:pt>
                <c:pt idx="96">
                  <c:v>120405</c:v>
                </c:pt>
                <c:pt idx="97">
                  <c:v>124600</c:v>
                </c:pt>
                <c:pt idx="98">
                  <c:v>136437</c:v>
                </c:pt>
                <c:pt idx="99">
                  <c:v>175657</c:v>
                </c:pt>
                <c:pt idx="100">
                  <c:v>193429</c:v>
                </c:pt>
                <c:pt idx="101">
                  <c:v>235585</c:v>
                </c:pt>
                <c:pt idx="102">
                  <c:v>335940</c:v>
                </c:pt>
                <c:pt idx="103">
                  <c:v>546023</c:v>
                </c:pt>
                <c:pt idx="104">
                  <c:v>75766</c:v>
                </c:pt>
                <c:pt idx="105">
                  <c:v>65103</c:v>
                </c:pt>
                <c:pt idx="106">
                  <c:v>69669</c:v>
                </c:pt>
                <c:pt idx="107">
                  <c:v>6283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9579</c:v>
                </c:pt>
                <c:pt idx="1">
                  <c:v>69023</c:v>
                </c:pt>
                <c:pt idx="2">
                  <c:v>69309</c:v>
                </c:pt>
                <c:pt idx="3">
                  <c:v>69794</c:v>
                </c:pt>
                <c:pt idx="4">
                  <c:v>71430</c:v>
                </c:pt>
                <c:pt idx="5">
                  <c:v>72969</c:v>
                </c:pt>
                <c:pt idx="6">
                  <c:v>73790</c:v>
                </c:pt>
                <c:pt idx="7">
                  <c:v>76097</c:v>
                </c:pt>
                <c:pt idx="8">
                  <c:v>77978</c:v>
                </c:pt>
                <c:pt idx="9">
                  <c:v>79347</c:v>
                </c:pt>
                <c:pt idx="10">
                  <c:v>78548</c:v>
                </c:pt>
                <c:pt idx="11">
                  <c:v>78797</c:v>
                </c:pt>
                <c:pt idx="12">
                  <c:v>79623</c:v>
                </c:pt>
                <c:pt idx="13">
                  <c:v>79399</c:v>
                </c:pt>
                <c:pt idx="14">
                  <c:v>81429</c:v>
                </c:pt>
                <c:pt idx="15">
                  <c:v>79716</c:v>
                </c:pt>
                <c:pt idx="16">
                  <c:v>78387</c:v>
                </c:pt>
                <c:pt idx="17">
                  <c:v>79021</c:v>
                </c:pt>
                <c:pt idx="18">
                  <c:v>78949</c:v>
                </c:pt>
                <c:pt idx="19">
                  <c:v>79048</c:v>
                </c:pt>
                <c:pt idx="20">
                  <c:v>76890</c:v>
                </c:pt>
                <c:pt idx="21">
                  <c:v>76555</c:v>
                </c:pt>
                <c:pt idx="22">
                  <c:v>76185</c:v>
                </c:pt>
                <c:pt idx="23">
                  <c:v>76724</c:v>
                </c:pt>
                <c:pt idx="24">
                  <c:v>77163</c:v>
                </c:pt>
                <c:pt idx="25">
                  <c:v>78000</c:v>
                </c:pt>
                <c:pt idx="26">
                  <c:v>78591</c:v>
                </c:pt>
                <c:pt idx="27">
                  <c:v>78996</c:v>
                </c:pt>
                <c:pt idx="28">
                  <c:v>79891</c:v>
                </c:pt>
                <c:pt idx="29">
                  <c:v>80456</c:v>
                </c:pt>
                <c:pt idx="30">
                  <c:v>81074</c:v>
                </c:pt>
                <c:pt idx="31">
                  <c:v>82986</c:v>
                </c:pt>
                <c:pt idx="32">
                  <c:v>84389</c:v>
                </c:pt>
                <c:pt idx="33">
                  <c:v>83257</c:v>
                </c:pt>
                <c:pt idx="34">
                  <c:v>82768</c:v>
                </c:pt>
                <c:pt idx="35">
                  <c:v>81418</c:v>
                </c:pt>
                <c:pt idx="36">
                  <c:v>81166</c:v>
                </c:pt>
                <c:pt idx="37">
                  <c:v>80861</c:v>
                </c:pt>
                <c:pt idx="38">
                  <c:v>79654</c:v>
                </c:pt>
                <c:pt idx="39">
                  <c:v>76844</c:v>
                </c:pt>
                <c:pt idx="40">
                  <c:v>92395</c:v>
                </c:pt>
                <c:pt idx="41">
                  <c:v>104135</c:v>
                </c:pt>
                <c:pt idx="42">
                  <c:v>104658</c:v>
                </c:pt>
                <c:pt idx="43">
                  <c:v>108233</c:v>
                </c:pt>
                <c:pt idx="44">
                  <c:v>108812</c:v>
                </c:pt>
                <c:pt idx="45">
                  <c:v>107687</c:v>
                </c:pt>
                <c:pt idx="46">
                  <c:v>107433</c:v>
                </c:pt>
                <c:pt idx="47">
                  <c:v>109046</c:v>
                </c:pt>
                <c:pt idx="48">
                  <c:v>105525</c:v>
                </c:pt>
                <c:pt idx="49">
                  <c:v>100974</c:v>
                </c:pt>
                <c:pt idx="50">
                  <c:v>97757</c:v>
                </c:pt>
                <c:pt idx="51">
                  <c:v>113886</c:v>
                </c:pt>
                <c:pt idx="52">
                  <c:v>86300</c:v>
                </c:pt>
                <c:pt idx="53">
                  <c:v>72326</c:v>
                </c:pt>
                <c:pt idx="54">
                  <c:v>63811</c:v>
                </c:pt>
                <c:pt idx="55">
                  <c:v>63225</c:v>
                </c:pt>
                <c:pt idx="56">
                  <c:v>72650</c:v>
                </c:pt>
                <c:pt idx="57">
                  <c:v>82221</c:v>
                </c:pt>
                <c:pt idx="58">
                  <c:v>87947</c:v>
                </c:pt>
                <c:pt idx="59">
                  <c:v>91002</c:v>
                </c:pt>
                <c:pt idx="60">
                  <c:v>93691</c:v>
                </c:pt>
                <c:pt idx="61">
                  <c:v>95598</c:v>
                </c:pt>
                <c:pt idx="62">
                  <c:v>95610</c:v>
                </c:pt>
                <c:pt idx="63">
                  <c:v>95498</c:v>
                </c:pt>
                <c:pt idx="64">
                  <c:v>94499</c:v>
                </c:pt>
                <c:pt idx="65">
                  <c:v>92981</c:v>
                </c:pt>
                <c:pt idx="66">
                  <c:v>92362</c:v>
                </c:pt>
                <c:pt idx="67">
                  <c:v>91992</c:v>
                </c:pt>
                <c:pt idx="68">
                  <c:v>89742</c:v>
                </c:pt>
                <c:pt idx="69">
                  <c:v>90219</c:v>
                </c:pt>
                <c:pt idx="70">
                  <c:v>90176</c:v>
                </c:pt>
                <c:pt idx="71">
                  <c:v>91107</c:v>
                </c:pt>
                <c:pt idx="72">
                  <c:v>90845</c:v>
                </c:pt>
                <c:pt idx="73">
                  <c:v>91429</c:v>
                </c:pt>
                <c:pt idx="74">
                  <c:v>91962</c:v>
                </c:pt>
                <c:pt idx="75">
                  <c:v>93870</c:v>
                </c:pt>
                <c:pt idx="76">
                  <c:v>94732</c:v>
                </c:pt>
                <c:pt idx="77">
                  <c:v>94262</c:v>
                </c:pt>
                <c:pt idx="78">
                  <c:v>94856</c:v>
                </c:pt>
                <c:pt idx="79">
                  <c:v>94507</c:v>
                </c:pt>
                <c:pt idx="80">
                  <c:v>94168</c:v>
                </c:pt>
                <c:pt idx="81">
                  <c:v>93041</c:v>
                </c:pt>
                <c:pt idx="82">
                  <c:v>92685</c:v>
                </c:pt>
                <c:pt idx="83">
                  <c:v>90902</c:v>
                </c:pt>
                <c:pt idx="84">
                  <c:v>90034</c:v>
                </c:pt>
                <c:pt idx="85">
                  <c:v>87988</c:v>
                </c:pt>
                <c:pt idx="86">
                  <c:v>86513</c:v>
                </c:pt>
                <c:pt idx="87">
                  <c:v>84403</c:v>
                </c:pt>
                <c:pt idx="88">
                  <c:v>83778</c:v>
                </c:pt>
                <c:pt idx="89">
                  <c:v>82491</c:v>
                </c:pt>
                <c:pt idx="90">
                  <c:v>81381</c:v>
                </c:pt>
                <c:pt idx="91">
                  <c:v>80286</c:v>
                </c:pt>
                <c:pt idx="92">
                  <c:v>84187</c:v>
                </c:pt>
                <c:pt idx="93">
                  <c:v>100303</c:v>
                </c:pt>
                <c:pt idx="94">
                  <c:v>105717</c:v>
                </c:pt>
                <c:pt idx="95">
                  <c:v>111155</c:v>
                </c:pt>
                <c:pt idx="96">
                  <c:v>118564</c:v>
                </c:pt>
                <c:pt idx="97">
                  <c:v>126586</c:v>
                </c:pt>
                <c:pt idx="98">
                  <c:v>136682</c:v>
                </c:pt>
                <c:pt idx="99">
                  <c:v>137767</c:v>
                </c:pt>
                <c:pt idx="100">
                  <c:v>139086</c:v>
                </c:pt>
                <c:pt idx="101">
                  <c:v>138252</c:v>
                </c:pt>
                <c:pt idx="102">
                  <c:v>137595</c:v>
                </c:pt>
                <c:pt idx="103">
                  <c:v>137567</c:v>
                </c:pt>
                <c:pt idx="104">
                  <c:v>91348</c:v>
                </c:pt>
                <c:pt idx="105">
                  <c:v>73734</c:v>
                </c:pt>
                <c:pt idx="106">
                  <c:v>71394</c:v>
                </c:pt>
                <c:pt idx="107">
                  <c:v>6859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64</c:v>
                </c:pt>
                <c:pt idx="1">
                  <c:v>0.44</c:v>
                </c:pt>
                <c:pt idx="2">
                  <c:v>0.43</c:v>
                </c:pt>
                <c:pt idx="3">
                  <c:v>0.35</c:v>
                </c:pt>
                <c:pt idx="4">
                  <c:v>0.26</c:v>
                </c:pt>
                <c:pt idx="5">
                  <c:v>0.21</c:v>
                </c:pt>
                <c:pt idx="6">
                  <c:v>0.22</c:v>
                </c:pt>
                <c:pt idx="7">
                  <c:v>0.38</c:v>
                </c:pt>
                <c:pt idx="8">
                  <c:v>0.17</c:v>
                </c:pt>
                <c:pt idx="9">
                  <c:v>0.19</c:v>
                </c:pt>
                <c:pt idx="10">
                  <c:v>0.33</c:v>
                </c:pt>
                <c:pt idx="11">
                  <c:v>0.22</c:v>
                </c:pt>
                <c:pt idx="12">
                  <c:v>0.14000000000000001</c:v>
                </c:pt>
                <c:pt idx="13">
                  <c:v>0.12</c:v>
                </c:pt>
                <c:pt idx="14">
                  <c:v>0.2</c:v>
                </c:pt>
                <c:pt idx="15">
                  <c:v>0.38</c:v>
                </c:pt>
                <c:pt idx="16">
                  <c:v>0.19</c:v>
                </c:pt>
                <c:pt idx="17">
                  <c:v>0.04</c:v>
                </c:pt>
                <c:pt idx="18">
                  <c:v>0.06</c:v>
                </c:pt>
                <c:pt idx="19">
                  <c:v>0.05</c:v>
                </c:pt>
                <c:pt idx="20">
                  <c:v>0.1</c:v>
                </c:pt>
                <c:pt idx="21">
                  <c:v>0.01</c:v>
                </c:pt>
                <c:pt idx="22">
                  <c:v>0</c:v>
                </c:pt>
                <c:pt idx="23">
                  <c:v>0.01</c:v>
                </c:pt>
                <c:pt idx="24">
                  <c:v>0</c:v>
                </c:pt>
                <c:pt idx="25">
                  <c:v>0.01</c:v>
                </c:pt>
                <c:pt idx="26">
                  <c:v>0.01</c:v>
                </c:pt>
                <c:pt idx="27">
                  <c:v>0.09</c:v>
                </c:pt>
                <c:pt idx="28">
                  <c:v>0.27</c:v>
                </c:pt>
                <c:pt idx="29">
                  <c:v>0.15</c:v>
                </c:pt>
                <c:pt idx="30">
                  <c:v>0.12</c:v>
                </c:pt>
                <c:pt idx="31">
                  <c:v>0.12</c:v>
                </c:pt>
                <c:pt idx="32">
                  <c:v>0.11</c:v>
                </c:pt>
                <c:pt idx="33">
                  <c:v>0.1</c:v>
                </c:pt>
                <c:pt idx="34">
                  <c:v>0.08</c:v>
                </c:pt>
                <c:pt idx="35">
                  <c:v>0.02</c:v>
                </c:pt>
                <c:pt idx="36">
                  <c:v>0.01</c:v>
                </c:pt>
                <c:pt idx="37">
                  <c:v>0.01</c:v>
                </c:pt>
                <c:pt idx="38">
                  <c:v>0.05</c:v>
                </c:pt>
                <c:pt idx="39">
                  <c:v>0.1</c:v>
                </c:pt>
                <c:pt idx="40">
                  <c:v>0.43</c:v>
                </c:pt>
                <c:pt idx="41">
                  <c:v>0.45</c:v>
                </c:pt>
                <c:pt idx="42">
                  <c:v>0.48</c:v>
                </c:pt>
                <c:pt idx="43">
                  <c:v>0.52</c:v>
                </c:pt>
                <c:pt idx="44">
                  <c:v>0.49</c:v>
                </c:pt>
                <c:pt idx="45">
                  <c:v>0.55000000000000004</c:v>
                </c:pt>
                <c:pt idx="46">
                  <c:v>0.67</c:v>
                </c:pt>
                <c:pt idx="47">
                  <c:v>0.66</c:v>
                </c:pt>
                <c:pt idx="48">
                  <c:v>0.7</c:v>
                </c:pt>
                <c:pt idx="49">
                  <c:v>0.83</c:v>
                </c:pt>
                <c:pt idx="50">
                  <c:v>0.89</c:v>
                </c:pt>
                <c:pt idx="51">
                  <c:v>0.95</c:v>
                </c:pt>
                <c:pt idx="52">
                  <c:v>0.37</c:v>
                </c:pt>
                <c:pt idx="53">
                  <c:v>0.32</c:v>
                </c:pt>
                <c:pt idx="54">
                  <c:v>0.12</c:v>
                </c:pt>
                <c:pt idx="55">
                  <c:v>0.06</c:v>
                </c:pt>
                <c:pt idx="56">
                  <c:v>0.03</c:v>
                </c:pt>
                <c:pt idx="57">
                  <c:v>0.03</c:v>
                </c:pt>
                <c:pt idx="58">
                  <c:v>0.15</c:v>
                </c:pt>
                <c:pt idx="59">
                  <c:v>0.34</c:v>
                </c:pt>
                <c:pt idx="60">
                  <c:v>0.23</c:v>
                </c:pt>
                <c:pt idx="61">
                  <c:v>0.21</c:v>
                </c:pt>
                <c:pt idx="62">
                  <c:v>0.24</c:v>
                </c:pt>
                <c:pt idx="63">
                  <c:v>0.38</c:v>
                </c:pt>
                <c:pt idx="64">
                  <c:v>0.22</c:v>
                </c:pt>
                <c:pt idx="65">
                  <c:v>0.22</c:v>
                </c:pt>
                <c:pt idx="66">
                  <c:v>0.25</c:v>
                </c:pt>
                <c:pt idx="67">
                  <c:v>0.37</c:v>
                </c:pt>
                <c:pt idx="68">
                  <c:v>0.24</c:v>
                </c:pt>
                <c:pt idx="69">
                  <c:v>0.21</c:v>
                </c:pt>
                <c:pt idx="70">
                  <c:v>0.21</c:v>
                </c:pt>
                <c:pt idx="71">
                  <c:v>0.24</c:v>
                </c:pt>
                <c:pt idx="72">
                  <c:v>0.22</c:v>
                </c:pt>
                <c:pt idx="73">
                  <c:v>0</c:v>
                </c:pt>
                <c:pt idx="74">
                  <c:v>0.01</c:v>
                </c:pt>
                <c:pt idx="75">
                  <c:v>0</c:v>
                </c:pt>
                <c:pt idx="76">
                  <c:v>0</c:v>
                </c:pt>
                <c:pt idx="77">
                  <c:v>0</c:v>
                </c:pt>
                <c:pt idx="78">
                  <c:v>0.01</c:v>
                </c:pt>
                <c:pt idx="79">
                  <c:v>0.1</c:v>
                </c:pt>
                <c:pt idx="80">
                  <c:v>0.21</c:v>
                </c:pt>
                <c:pt idx="81">
                  <c:v>0.21</c:v>
                </c:pt>
                <c:pt idx="82">
                  <c:v>0.21</c:v>
                </c:pt>
                <c:pt idx="83">
                  <c:v>0.05</c:v>
                </c:pt>
                <c:pt idx="84">
                  <c:v>0.04</c:v>
                </c:pt>
                <c:pt idx="85">
                  <c:v>0.01</c:v>
                </c:pt>
                <c:pt idx="86">
                  <c:v>0.03</c:v>
                </c:pt>
                <c:pt idx="87">
                  <c:v>0.01</c:v>
                </c:pt>
                <c:pt idx="88">
                  <c:v>0.01</c:v>
                </c:pt>
                <c:pt idx="89">
                  <c:v>0.01</c:v>
                </c:pt>
                <c:pt idx="90">
                  <c:v>0.05</c:v>
                </c:pt>
                <c:pt idx="91">
                  <c:v>0.11</c:v>
                </c:pt>
                <c:pt idx="92">
                  <c:v>0.25</c:v>
                </c:pt>
                <c:pt idx="93">
                  <c:v>0.4</c:v>
                </c:pt>
                <c:pt idx="94">
                  <c:v>0.37</c:v>
                </c:pt>
                <c:pt idx="95">
                  <c:v>0.32</c:v>
                </c:pt>
                <c:pt idx="96">
                  <c:v>0.36</c:v>
                </c:pt>
                <c:pt idx="97">
                  <c:v>0.43</c:v>
                </c:pt>
                <c:pt idx="98">
                  <c:v>0.48</c:v>
                </c:pt>
                <c:pt idx="99">
                  <c:v>0.61</c:v>
                </c:pt>
                <c:pt idx="100">
                  <c:v>0.61</c:v>
                </c:pt>
                <c:pt idx="101">
                  <c:v>0.69</c:v>
                </c:pt>
                <c:pt idx="102">
                  <c:v>0.76</c:v>
                </c:pt>
                <c:pt idx="103">
                  <c:v>0.89</c:v>
                </c:pt>
                <c:pt idx="104">
                  <c:v>0.24</c:v>
                </c:pt>
                <c:pt idx="105">
                  <c:v>7.0000000000000007E-2</c:v>
                </c:pt>
                <c:pt idx="106">
                  <c:v>0.04</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56</c:v>
                </c:pt>
                <c:pt idx="1">
                  <c:v>5</c:v>
                </c:pt>
                <c:pt idx="2">
                  <c:v>96</c:v>
                </c:pt>
                <c:pt idx="3">
                  <c:v>46</c:v>
                </c:pt>
                <c:pt idx="4">
                  <c:v>36</c:v>
                </c:pt>
                <c:pt idx="5">
                  <c:v>59</c:v>
                </c:pt>
                <c:pt idx="6">
                  <c:v>12</c:v>
                </c:pt>
                <c:pt idx="7">
                  <c:v>46</c:v>
                </c:pt>
                <c:pt idx="8">
                  <c:v>5</c:v>
                </c:pt>
                <c:pt idx="9">
                  <c:v>4</c:v>
                </c:pt>
                <c:pt idx="10">
                  <c:v>10</c:v>
                </c:pt>
                <c:pt idx="11">
                  <c:v>103</c:v>
                </c:pt>
                <c:pt idx="12">
                  <c:v>33</c:v>
                </c:pt>
                <c:pt idx="13">
                  <c:v>44</c:v>
                </c:pt>
                <c:pt idx="14">
                  <c:v>2360</c:v>
                </c:pt>
                <c:pt idx="15">
                  <c:v>1769</c:v>
                </c:pt>
                <c:pt idx="16">
                  <c:v>911</c:v>
                </c:pt>
                <c:pt idx="17">
                  <c:v>471</c:v>
                </c:pt>
                <c:pt idx="18">
                  <c:v>417</c:v>
                </c:pt>
                <c:pt idx="19">
                  <c:v>295</c:v>
                </c:pt>
                <c:pt idx="20">
                  <c:v>304</c:v>
                </c:pt>
                <c:pt idx="21">
                  <c:v>194</c:v>
                </c:pt>
                <c:pt idx="22">
                  <c:v>350</c:v>
                </c:pt>
                <c:pt idx="23">
                  <c:v>125</c:v>
                </c:pt>
                <c:pt idx="24">
                  <c:v>252</c:v>
                </c:pt>
                <c:pt idx="25">
                  <c:v>334</c:v>
                </c:pt>
                <c:pt idx="26">
                  <c:v>594</c:v>
                </c:pt>
                <c:pt idx="27">
                  <c:v>360</c:v>
                </c:pt>
                <c:pt idx="28">
                  <c:v>310</c:v>
                </c:pt>
                <c:pt idx="29">
                  <c:v>398</c:v>
                </c:pt>
                <c:pt idx="30">
                  <c:v>299</c:v>
                </c:pt>
                <c:pt idx="31">
                  <c:v>365</c:v>
                </c:pt>
                <c:pt idx="32">
                  <c:v>420</c:v>
                </c:pt>
                <c:pt idx="33">
                  <c:v>519</c:v>
                </c:pt>
                <c:pt idx="34">
                  <c:v>560</c:v>
                </c:pt>
                <c:pt idx="35">
                  <c:v>261</c:v>
                </c:pt>
                <c:pt idx="36">
                  <c:v>511</c:v>
                </c:pt>
                <c:pt idx="37">
                  <c:v>360</c:v>
                </c:pt>
                <c:pt idx="38">
                  <c:v>393</c:v>
                </c:pt>
                <c:pt idx="39">
                  <c:v>721</c:v>
                </c:pt>
                <c:pt idx="40">
                  <c:v>944</c:v>
                </c:pt>
                <c:pt idx="41">
                  <c:v>735</c:v>
                </c:pt>
                <c:pt idx="42">
                  <c:v>982</c:v>
                </c:pt>
                <c:pt idx="43">
                  <c:v>946</c:v>
                </c:pt>
                <c:pt idx="44">
                  <c:v>718</c:v>
                </c:pt>
                <c:pt idx="45">
                  <c:v>1020</c:v>
                </c:pt>
                <c:pt idx="46">
                  <c:v>1192</c:v>
                </c:pt>
                <c:pt idx="47">
                  <c:v>979</c:v>
                </c:pt>
                <c:pt idx="48">
                  <c:v>1079</c:v>
                </c:pt>
                <c:pt idx="49">
                  <c:v>947</c:v>
                </c:pt>
                <c:pt idx="50">
                  <c:v>1150</c:v>
                </c:pt>
                <c:pt idx="51">
                  <c:v>1036</c:v>
                </c:pt>
                <c:pt idx="52">
                  <c:v>782</c:v>
                </c:pt>
                <c:pt idx="53">
                  <c:v>1272</c:v>
                </c:pt>
                <c:pt idx="54">
                  <c:v>827</c:v>
                </c:pt>
                <c:pt idx="55">
                  <c:v>833</c:v>
                </c:pt>
                <c:pt idx="56">
                  <c:v>942</c:v>
                </c:pt>
                <c:pt idx="57">
                  <c:v>1191</c:v>
                </c:pt>
                <c:pt idx="58">
                  <c:v>804</c:v>
                </c:pt>
                <c:pt idx="59">
                  <c:v>1074</c:v>
                </c:pt>
                <c:pt idx="60">
                  <c:v>1107</c:v>
                </c:pt>
                <c:pt idx="61">
                  <c:v>1181</c:v>
                </c:pt>
                <c:pt idx="62">
                  <c:v>1210</c:v>
                </c:pt>
                <c:pt idx="63">
                  <c:v>684</c:v>
                </c:pt>
                <c:pt idx="64">
                  <c:v>813</c:v>
                </c:pt>
                <c:pt idx="65">
                  <c:v>821</c:v>
                </c:pt>
                <c:pt idx="66">
                  <c:v>668</c:v>
                </c:pt>
                <c:pt idx="67">
                  <c:v>1049</c:v>
                </c:pt>
                <c:pt idx="68">
                  <c:v>1053</c:v>
                </c:pt>
                <c:pt idx="69">
                  <c:v>915</c:v>
                </c:pt>
                <c:pt idx="70">
                  <c:v>940</c:v>
                </c:pt>
                <c:pt idx="71">
                  <c:v>906</c:v>
                </c:pt>
                <c:pt idx="72">
                  <c:v>882</c:v>
                </c:pt>
                <c:pt idx="73">
                  <c:v>795</c:v>
                </c:pt>
                <c:pt idx="74">
                  <c:v>671</c:v>
                </c:pt>
                <c:pt idx="75">
                  <c:v>711</c:v>
                </c:pt>
                <c:pt idx="76">
                  <c:v>992</c:v>
                </c:pt>
                <c:pt idx="77">
                  <c:v>615</c:v>
                </c:pt>
                <c:pt idx="78">
                  <c:v>689</c:v>
                </c:pt>
                <c:pt idx="79">
                  <c:v>347</c:v>
                </c:pt>
                <c:pt idx="80">
                  <c:v>411</c:v>
                </c:pt>
                <c:pt idx="81">
                  <c:v>516</c:v>
                </c:pt>
                <c:pt idx="82">
                  <c:v>719</c:v>
                </c:pt>
                <c:pt idx="83">
                  <c:v>588</c:v>
                </c:pt>
                <c:pt idx="84">
                  <c:v>581</c:v>
                </c:pt>
                <c:pt idx="85">
                  <c:v>491</c:v>
                </c:pt>
                <c:pt idx="86">
                  <c:v>499</c:v>
                </c:pt>
                <c:pt idx="87">
                  <c:v>759</c:v>
                </c:pt>
                <c:pt idx="88">
                  <c:v>686</c:v>
                </c:pt>
                <c:pt idx="89">
                  <c:v>656</c:v>
                </c:pt>
                <c:pt idx="90">
                  <c:v>1128</c:v>
                </c:pt>
                <c:pt idx="91">
                  <c:v>924</c:v>
                </c:pt>
                <c:pt idx="92">
                  <c:v>795</c:v>
                </c:pt>
                <c:pt idx="93">
                  <c:v>674</c:v>
                </c:pt>
                <c:pt idx="94">
                  <c:v>610</c:v>
                </c:pt>
                <c:pt idx="95">
                  <c:v>505</c:v>
                </c:pt>
                <c:pt idx="96">
                  <c:v>718</c:v>
                </c:pt>
                <c:pt idx="97">
                  <c:v>681</c:v>
                </c:pt>
                <c:pt idx="98">
                  <c:v>794</c:v>
                </c:pt>
                <c:pt idx="99">
                  <c:v>727</c:v>
                </c:pt>
                <c:pt idx="100">
                  <c:v>711</c:v>
                </c:pt>
                <c:pt idx="101">
                  <c:v>713</c:v>
                </c:pt>
                <c:pt idx="102">
                  <c:v>822</c:v>
                </c:pt>
                <c:pt idx="103">
                  <c:v>809</c:v>
                </c:pt>
                <c:pt idx="104">
                  <c:v>756</c:v>
                </c:pt>
                <c:pt idx="105">
                  <c:v>910</c:v>
                </c:pt>
                <c:pt idx="106">
                  <c:v>645</c:v>
                </c:pt>
                <c:pt idx="107">
                  <c:v>82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1908</c:v>
                </c:pt>
                <c:pt idx="1">
                  <c:v>45471</c:v>
                </c:pt>
                <c:pt idx="2">
                  <c:v>50625</c:v>
                </c:pt>
                <c:pt idx="3">
                  <c:v>52893</c:v>
                </c:pt>
                <c:pt idx="4">
                  <c:v>56592</c:v>
                </c:pt>
                <c:pt idx="5">
                  <c:v>51988</c:v>
                </c:pt>
                <c:pt idx="6">
                  <c:v>43663</c:v>
                </c:pt>
                <c:pt idx="7">
                  <c:v>33763</c:v>
                </c:pt>
                <c:pt idx="8">
                  <c:v>31184</c:v>
                </c:pt>
                <c:pt idx="9">
                  <c:v>31263</c:v>
                </c:pt>
                <c:pt idx="10">
                  <c:v>20146</c:v>
                </c:pt>
                <c:pt idx="11">
                  <c:v>14242</c:v>
                </c:pt>
                <c:pt idx="12">
                  <c:v>8795</c:v>
                </c:pt>
                <c:pt idx="13">
                  <c:v>6046</c:v>
                </c:pt>
                <c:pt idx="14">
                  <c:v>10459</c:v>
                </c:pt>
                <c:pt idx="15">
                  <c:v>35880</c:v>
                </c:pt>
                <c:pt idx="16">
                  <c:v>58406</c:v>
                </c:pt>
                <c:pt idx="17">
                  <c:v>67405</c:v>
                </c:pt>
                <c:pt idx="18">
                  <c:v>66708</c:v>
                </c:pt>
                <c:pt idx="19">
                  <c:v>66172</c:v>
                </c:pt>
                <c:pt idx="20">
                  <c:v>67913</c:v>
                </c:pt>
                <c:pt idx="21">
                  <c:v>72245</c:v>
                </c:pt>
                <c:pt idx="22">
                  <c:v>72407</c:v>
                </c:pt>
                <c:pt idx="23">
                  <c:v>70766</c:v>
                </c:pt>
                <c:pt idx="24">
                  <c:v>68862</c:v>
                </c:pt>
                <c:pt idx="25">
                  <c:v>70853</c:v>
                </c:pt>
                <c:pt idx="26">
                  <c:v>75298</c:v>
                </c:pt>
                <c:pt idx="27">
                  <c:v>71604</c:v>
                </c:pt>
                <c:pt idx="28">
                  <c:v>69079</c:v>
                </c:pt>
                <c:pt idx="29">
                  <c:v>64292</c:v>
                </c:pt>
                <c:pt idx="30">
                  <c:v>71803</c:v>
                </c:pt>
                <c:pt idx="31">
                  <c:v>66376</c:v>
                </c:pt>
                <c:pt idx="32">
                  <c:v>67920</c:v>
                </c:pt>
                <c:pt idx="33">
                  <c:v>65351</c:v>
                </c:pt>
                <c:pt idx="34">
                  <c:v>62905</c:v>
                </c:pt>
                <c:pt idx="35">
                  <c:v>63342</c:v>
                </c:pt>
                <c:pt idx="36">
                  <c:v>57846</c:v>
                </c:pt>
                <c:pt idx="37">
                  <c:v>57917</c:v>
                </c:pt>
                <c:pt idx="38">
                  <c:v>57144</c:v>
                </c:pt>
                <c:pt idx="39">
                  <c:v>59221</c:v>
                </c:pt>
                <c:pt idx="40">
                  <c:v>55128</c:v>
                </c:pt>
                <c:pt idx="41">
                  <c:v>53475</c:v>
                </c:pt>
                <c:pt idx="42">
                  <c:v>54264</c:v>
                </c:pt>
                <c:pt idx="43">
                  <c:v>55747</c:v>
                </c:pt>
                <c:pt idx="44">
                  <c:v>56833</c:v>
                </c:pt>
                <c:pt idx="45">
                  <c:v>53291</c:v>
                </c:pt>
                <c:pt idx="46">
                  <c:v>50052</c:v>
                </c:pt>
                <c:pt idx="47">
                  <c:v>52073</c:v>
                </c:pt>
                <c:pt idx="48">
                  <c:v>56550</c:v>
                </c:pt>
                <c:pt idx="49">
                  <c:v>54284</c:v>
                </c:pt>
                <c:pt idx="50">
                  <c:v>64641</c:v>
                </c:pt>
                <c:pt idx="51">
                  <c:v>52471</c:v>
                </c:pt>
                <c:pt idx="52">
                  <c:v>55909</c:v>
                </c:pt>
                <c:pt idx="53">
                  <c:v>51274</c:v>
                </c:pt>
                <c:pt idx="54">
                  <c:v>45383</c:v>
                </c:pt>
                <c:pt idx="55">
                  <c:v>49438</c:v>
                </c:pt>
                <c:pt idx="56">
                  <c:v>51562</c:v>
                </c:pt>
                <c:pt idx="57">
                  <c:v>49907</c:v>
                </c:pt>
                <c:pt idx="58">
                  <c:v>49182</c:v>
                </c:pt>
                <c:pt idx="59">
                  <c:v>51288</c:v>
                </c:pt>
                <c:pt idx="60">
                  <c:v>52762</c:v>
                </c:pt>
                <c:pt idx="61">
                  <c:v>53029</c:v>
                </c:pt>
                <c:pt idx="62">
                  <c:v>48994</c:v>
                </c:pt>
                <c:pt idx="63">
                  <c:v>48103</c:v>
                </c:pt>
                <c:pt idx="64">
                  <c:v>50638</c:v>
                </c:pt>
                <c:pt idx="65">
                  <c:v>50708</c:v>
                </c:pt>
                <c:pt idx="66">
                  <c:v>49969</c:v>
                </c:pt>
                <c:pt idx="67">
                  <c:v>50185</c:v>
                </c:pt>
                <c:pt idx="68">
                  <c:v>49244</c:v>
                </c:pt>
                <c:pt idx="69">
                  <c:v>53964</c:v>
                </c:pt>
                <c:pt idx="70">
                  <c:v>50859</c:v>
                </c:pt>
                <c:pt idx="71">
                  <c:v>47663</c:v>
                </c:pt>
                <c:pt idx="72">
                  <c:v>49953</c:v>
                </c:pt>
                <c:pt idx="73">
                  <c:v>51456</c:v>
                </c:pt>
                <c:pt idx="74">
                  <c:v>55433</c:v>
                </c:pt>
                <c:pt idx="75">
                  <c:v>51816</c:v>
                </c:pt>
                <c:pt idx="76">
                  <c:v>48304</c:v>
                </c:pt>
                <c:pt idx="77">
                  <c:v>36684</c:v>
                </c:pt>
                <c:pt idx="78">
                  <c:v>29614</c:v>
                </c:pt>
                <c:pt idx="79">
                  <c:v>17979</c:v>
                </c:pt>
                <c:pt idx="80">
                  <c:v>14666</c:v>
                </c:pt>
                <c:pt idx="81">
                  <c:v>28271</c:v>
                </c:pt>
                <c:pt idx="82">
                  <c:v>44700</c:v>
                </c:pt>
                <c:pt idx="83">
                  <c:v>46668</c:v>
                </c:pt>
                <c:pt idx="84">
                  <c:v>49397</c:v>
                </c:pt>
                <c:pt idx="85">
                  <c:v>49492</c:v>
                </c:pt>
                <c:pt idx="86">
                  <c:v>50571</c:v>
                </c:pt>
                <c:pt idx="87">
                  <c:v>49417</c:v>
                </c:pt>
                <c:pt idx="88">
                  <c:v>46847</c:v>
                </c:pt>
                <c:pt idx="89">
                  <c:v>45770</c:v>
                </c:pt>
                <c:pt idx="90">
                  <c:v>44059</c:v>
                </c:pt>
                <c:pt idx="91">
                  <c:v>48449</c:v>
                </c:pt>
                <c:pt idx="92">
                  <c:v>43633</c:v>
                </c:pt>
                <c:pt idx="93">
                  <c:v>45171</c:v>
                </c:pt>
                <c:pt idx="94">
                  <c:v>42876</c:v>
                </c:pt>
                <c:pt idx="95">
                  <c:v>43349</c:v>
                </c:pt>
                <c:pt idx="96">
                  <c:v>45852</c:v>
                </c:pt>
                <c:pt idx="97">
                  <c:v>42538</c:v>
                </c:pt>
                <c:pt idx="98">
                  <c:v>41303</c:v>
                </c:pt>
                <c:pt idx="99">
                  <c:v>39282</c:v>
                </c:pt>
                <c:pt idx="100">
                  <c:v>43048</c:v>
                </c:pt>
                <c:pt idx="101">
                  <c:v>42622</c:v>
                </c:pt>
                <c:pt idx="102">
                  <c:v>44727</c:v>
                </c:pt>
                <c:pt idx="103">
                  <c:v>46792</c:v>
                </c:pt>
                <c:pt idx="104">
                  <c:v>43285</c:v>
                </c:pt>
                <c:pt idx="105">
                  <c:v>40434</c:v>
                </c:pt>
                <c:pt idx="106">
                  <c:v>45877</c:v>
                </c:pt>
                <c:pt idx="107">
                  <c:v>4337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1964</c:v>
                </c:pt>
                <c:pt idx="1">
                  <c:v>45476</c:v>
                </c:pt>
                <c:pt idx="2">
                  <c:v>50721</c:v>
                </c:pt>
                <c:pt idx="3">
                  <c:v>52939</c:v>
                </c:pt>
                <c:pt idx="4">
                  <c:v>56628</c:v>
                </c:pt>
                <c:pt idx="5">
                  <c:v>52047</c:v>
                </c:pt>
                <c:pt idx="6">
                  <c:v>43675</c:v>
                </c:pt>
                <c:pt idx="7">
                  <c:v>33809</c:v>
                </c:pt>
                <c:pt idx="8">
                  <c:v>31189</c:v>
                </c:pt>
                <c:pt idx="9">
                  <c:v>31267</c:v>
                </c:pt>
                <c:pt idx="10">
                  <c:v>20156</c:v>
                </c:pt>
                <c:pt idx="11">
                  <c:v>14345</c:v>
                </c:pt>
                <c:pt idx="12">
                  <c:v>8828</c:v>
                </c:pt>
                <c:pt idx="13">
                  <c:v>6090</c:v>
                </c:pt>
                <c:pt idx="14">
                  <c:v>12819</c:v>
                </c:pt>
                <c:pt idx="15">
                  <c:v>37649</c:v>
                </c:pt>
                <c:pt idx="16">
                  <c:v>59317</c:v>
                </c:pt>
                <c:pt idx="17">
                  <c:v>67876</c:v>
                </c:pt>
                <c:pt idx="18">
                  <c:v>67125</c:v>
                </c:pt>
                <c:pt idx="19">
                  <c:v>66467</c:v>
                </c:pt>
                <c:pt idx="20">
                  <c:v>68217</c:v>
                </c:pt>
                <c:pt idx="21">
                  <c:v>72439</c:v>
                </c:pt>
                <c:pt idx="22">
                  <c:v>72757</c:v>
                </c:pt>
                <c:pt idx="23">
                  <c:v>70891</c:v>
                </c:pt>
                <c:pt idx="24">
                  <c:v>69114</c:v>
                </c:pt>
                <c:pt idx="25">
                  <c:v>71187</c:v>
                </c:pt>
                <c:pt idx="26">
                  <c:v>75892</c:v>
                </c:pt>
                <c:pt idx="27">
                  <c:v>71964</c:v>
                </c:pt>
                <c:pt idx="28">
                  <c:v>69389</c:v>
                </c:pt>
                <c:pt idx="29">
                  <c:v>64690</c:v>
                </c:pt>
                <c:pt idx="30">
                  <c:v>72102</c:v>
                </c:pt>
                <c:pt idx="31">
                  <c:v>66741</c:v>
                </c:pt>
                <c:pt idx="32">
                  <c:v>68340</c:v>
                </c:pt>
                <c:pt idx="33">
                  <c:v>65870</c:v>
                </c:pt>
                <c:pt idx="34">
                  <c:v>63465</c:v>
                </c:pt>
                <c:pt idx="35">
                  <c:v>63603</c:v>
                </c:pt>
                <c:pt idx="36">
                  <c:v>58357</c:v>
                </c:pt>
                <c:pt idx="37">
                  <c:v>58277</c:v>
                </c:pt>
                <c:pt idx="38">
                  <c:v>57537</c:v>
                </c:pt>
                <c:pt idx="39">
                  <c:v>59942</c:v>
                </c:pt>
                <c:pt idx="40">
                  <c:v>56072</c:v>
                </c:pt>
                <c:pt idx="41">
                  <c:v>54210</c:v>
                </c:pt>
                <c:pt idx="42">
                  <c:v>55246</c:v>
                </c:pt>
                <c:pt idx="43">
                  <c:v>56693</c:v>
                </c:pt>
                <c:pt idx="44">
                  <c:v>57551</c:v>
                </c:pt>
                <c:pt idx="45">
                  <c:v>54311</c:v>
                </c:pt>
                <c:pt idx="46">
                  <c:v>51244</c:v>
                </c:pt>
                <c:pt idx="47">
                  <c:v>53052</c:v>
                </c:pt>
                <c:pt idx="48">
                  <c:v>57629</c:v>
                </c:pt>
                <c:pt idx="49">
                  <c:v>55231</c:v>
                </c:pt>
                <c:pt idx="50">
                  <c:v>65791</c:v>
                </c:pt>
                <c:pt idx="51">
                  <c:v>53507</c:v>
                </c:pt>
                <c:pt idx="52">
                  <c:v>56691</c:v>
                </c:pt>
                <c:pt idx="53">
                  <c:v>52546</c:v>
                </c:pt>
                <c:pt idx="54">
                  <c:v>46210</c:v>
                </c:pt>
                <c:pt idx="55">
                  <c:v>50271</c:v>
                </c:pt>
                <c:pt idx="56">
                  <c:v>52504</c:v>
                </c:pt>
                <c:pt idx="57">
                  <c:v>51098</c:v>
                </c:pt>
                <c:pt idx="58">
                  <c:v>49986</c:v>
                </c:pt>
                <c:pt idx="59">
                  <c:v>52362</c:v>
                </c:pt>
                <c:pt idx="60">
                  <c:v>53869</c:v>
                </c:pt>
                <c:pt idx="61">
                  <c:v>54210</c:v>
                </c:pt>
                <c:pt idx="62">
                  <c:v>50204</c:v>
                </c:pt>
                <c:pt idx="63">
                  <c:v>48787</c:v>
                </c:pt>
                <c:pt idx="64">
                  <c:v>51451</c:v>
                </c:pt>
                <c:pt idx="65">
                  <c:v>51529</c:v>
                </c:pt>
                <c:pt idx="66">
                  <c:v>50637</c:v>
                </c:pt>
                <c:pt idx="67">
                  <c:v>51234</c:v>
                </c:pt>
                <c:pt idx="68">
                  <c:v>50297</c:v>
                </c:pt>
                <c:pt idx="69">
                  <c:v>54879</c:v>
                </c:pt>
                <c:pt idx="70">
                  <c:v>51799</c:v>
                </c:pt>
                <c:pt idx="71">
                  <c:v>48569</c:v>
                </c:pt>
                <c:pt idx="72">
                  <c:v>50835</c:v>
                </c:pt>
                <c:pt idx="73">
                  <c:v>52251</c:v>
                </c:pt>
                <c:pt idx="74">
                  <c:v>56104</c:v>
                </c:pt>
                <c:pt idx="75">
                  <c:v>52527</c:v>
                </c:pt>
                <c:pt idx="76">
                  <c:v>49296</c:v>
                </c:pt>
                <c:pt idx="77">
                  <c:v>37299</c:v>
                </c:pt>
                <c:pt idx="78">
                  <c:v>30303</c:v>
                </c:pt>
                <c:pt idx="79">
                  <c:v>18326</c:v>
                </c:pt>
                <c:pt idx="80">
                  <c:v>15077</c:v>
                </c:pt>
                <c:pt idx="81">
                  <c:v>28787</c:v>
                </c:pt>
                <c:pt idx="82">
                  <c:v>45419</c:v>
                </c:pt>
                <c:pt idx="83">
                  <c:v>47256</c:v>
                </c:pt>
                <c:pt idx="84">
                  <c:v>49978</c:v>
                </c:pt>
                <c:pt idx="85">
                  <c:v>49983</c:v>
                </c:pt>
                <c:pt idx="86">
                  <c:v>51070</c:v>
                </c:pt>
                <c:pt idx="87">
                  <c:v>50176</c:v>
                </c:pt>
                <c:pt idx="88">
                  <c:v>47533</c:v>
                </c:pt>
                <c:pt idx="89">
                  <c:v>46426</c:v>
                </c:pt>
                <c:pt idx="90">
                  <c:v>45187</c:v>
                </c:pt>
                <c:pt idx="91">
                  <c:v>49373</c:v>
                </c:pt>
                <c:pt idx="92">
                  <c:v>44428</c:v>
                </c:pt>
                <c:pt idx="93">
                  <c:v>45845</c:v>
                </c:pt>
                <c:pt idx="94">
                  <c:v>43486</c:v>
                </c:pt>
                <c:pt idx="95">
                  <c:v>43854</c:v>
                </c:pt>
                <c:pt idx="96">
                  <c:v>46570</c:v>
                </c:pt>
                <c:pt idx="97">
                  <c:v>43219</c:v>
                </c:pt>
                <c:pt idx="98">
                  <c:v>42097</c:v>
                </c:pt>
                <c:pt idx="99">
                  <c:v>40009</c:v>
                </c:pt>
                <c:pt idx="100">
                  <c:v>43759</c:v>
                </c:pt>
                <c:pt idx="101">
                  <c:v>43335</c:v>
                </c:pt>
                <c:pt idx="102">
                  <c:v>45549</c:v>
                </c:pt>
                <c:pt idx="103">
                  <c:v>47601</c:v>
                </c:pt>
                <c:pt idx="104">
                  <c:v>44041</c:v>
                </c:pt>
                <c:pt idx="105">
                  <c:v>41344</c:v>
                </c:pt>
                <c:pt idx="106">
                  <c:v>46522</c:v>
                </c:pt>
                <c:pt idx="107">
                  <c:v>441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7911</c:v>
                </c:pt>
                <c:pt idx="1">
                  <c:v>49706</c:v>
                </c:pt>
                <c:pt idx="2">
                  <c:v>50139</c:v>
                </c:pt>
                <c:pt idx="3">
                  <c:v>49247</c:v>
                </c:pt>
                <c:pt idx="4">
                  <c:v>47341</c:v>
                </c:pt>
                <c:pt idx="5">
                  <c:v>45995</c:v>
                </c:pt>
                <c:pt idx="6">
                  <c:v>44221</c:v>
                </c:pt>
                <c:pt idx="7">
                  <c:v>40396</c:v>
                </c:pt>
                <c:pt idx="8">
                  <c:v>35564</c:v>
                </c:pt>
                <c:pt idx="9">
                  <c:v>29559</c:v>
                </c:pt>
                <c:pt idx="10">
                  <c:v>23789</c:v>
                </c:pt>
                <c:pt idx="11">
                  <c:v>19131</c:v>
                </c:pt>
                <c:pt idx="12">
                  <c:v>15339</c:v>
                </c:pt>
                <c:pt idx="13">
                  <c:v>11602</c:v>
                </c:pt>
                <c:pt idx="14">
                  <c:v>48523</c:v>
                </c:pt>
                <c:pt idx="15">
                  <c:v>51087</c:v>
                </c:pt>
                <c:pt idx="16">
                  <c:v>52094</c:v>
                </c:pt>
                <c:pt idx="17">
                  <c:v>53982</c:v>
                </c:pt>
                <c:pt idx="18">
                  <c:v>56131</c:v>
                </c:pt>
                <c:pt idx="19">
                  <c:v>63928</c:v>
                </c:pt>
                <c:pt idx="20">
                  <c:v>68267</c:v>
                </c:pt>
                <c:pt idx="21">
                  <c:v>69365</c:v>
                </c:pt>
                <c:pt idx="22">
                  <c:v>69801</c:v>
                </c:pt>
                <c:pt idx="23">
                  <c:v>70438</c:v>
                </c:pt>
                <c:pt idx="24">
                  <c:v>70124</c:v>
                </c:pt>
                <c:pt idx="25">
                  <c:v>69229</c:v>
                </c:pt>
                <c:pt idx="26">
                  <c:v>70771</c:v>
                </c:pt>
                <c:pt idx="27">
                  <c:v>74607</c:v>
                </c:pt>
                <c:pt idx="28">
                  <c:v>73159</c:v>
                </c:pt>
                <c:pt idx="29">
                  <c:v>72004</c:v>
                </c:pt>
                <c:pt idx="30">
                  <c:v>70160</c:v>
                </c:pt>
                <c:pt idx="31">
                  <c:v>67897</c:v>
                </c:pt>
                <c:pt idx="32">
                  <c:v>66810</c:v>
                </c:pt>
                <c:pt idx="33">
                  <c:v>65424</c:v>
                </c:pt>
                <c:pt idx="34">
                  <c:v>64617</c:v>
                </c:pt>
                <c:pt idx="35">
                  <c:v>62797</c:v>
                </c:pt>
                <c:pt idx="36">
                  <c:v>61922</c:v>
                </c:pt>
                <c:pt idx="37">
                  <c:v>60422</c:v>
                </c:pt>
                <c:pt idx="38">
                  <c:v>58958</c:v>
                </c:pt>
                <c:pt idx="39">
                  <c:v>57956</c:v>
                </c:pt>
                <c:pt idx="40">
                  <c:v>57102</c:v>
                </c:pt>
                <c:pt idx="41">
                  <c:v>56995</c:v>
                </c:pt>
                <c:pt idx="42">
                  <c:v>56500</c:v>
                </c:pt>
                <c:pt idx="43">
                  <c:v>55729</c:v>
                </c:pt>
                <c:pt idx="44">
                  <c:v>54870</c:v>
                </c:pt>
                <c:pt idx="45">
                  <c:v>55064</c:v>
                </c:pt>
                <c:pt idx="46">
                  <c:v>55198</c:v>
                </c:pt>
                <c:pt idx="47">
                  <c:v>56520</c:v>
                </c:pt>
                <c:pt idx="48">
                  <c:v>56113</c:v>
                </c:pt>
                <c:pt idx="49">
                  <c:v>56018</c:v>
                </c:pt>
                <c:pt idx="50">
                  <c:v>55789</c:v>
                </c:pt>
                <c:pt idx="51">
                  <c:v>55163</c:v>
                </c:pt>
                <c:pt idx="52">
                  <c:v>54816</c:v>
                </c:pt>
                <c:pt idx="53">
                  <c:v>54192</c:v>
                </c:pt>
                <c:pt idx="54">
                  <c:v>53668</c:v>
                </c:pt>
                <c:pt idx="55">
                  <c:v>51710</c:v>
                </c:pt>
                <c:pt idx="56">
                  <c:v>51498</c:v>
                </c:pt>
                <c:pt idx="57">
                  <c:v>51159</c:v>
                </c:pt>
                <c:pt idx="58">
                  <c:v>51371</c:v>
                </c:pt>
                <c:pt idx="59">
                  <c:v>51854</c:v>
                </c:pt>
                <c:pt idx="60">
                  <c:v>51658</c:v>
                </c:pt>
                <c:pt idx="61">
                  <c:v>51541</c:v>
                </c:pt>
                <c:pt idx="62">
                  <c:v>51584</c:v>
                </c:pt>
                <c:pt idx="63">
                  <c:v>51648</c:v>
                </c:pt>
                <c:pt idx="64">
                  <c:v>51505</c:v>
                </c:pt>
                <c:pt idx="65">
                  <c:v>51066</c:v>
                </c:pt>
                <c:pt idx="66">
                  <c:v>51155</c:v>
                </c:pt>
                <c:pt idx="67">
                  <c:v>51355</c:v>
                </c:pt>
                <c:pt idx="68">
                  <c:v>51334</c:v>
                </c:pt>
                <c:pt idx="69">
                  <c:v>51243</c:v>
                </c:pt>
                <c:pt idx="70">
                  <c:v>51333</c:v>
                </c:pt>
                <c:pt idx="71">
                  <c:v>52018</c:v>
                </c:pt>
                <c:pt idx="72">
                  <c:v>52185</c:v>
                </c:pt>
                <c:pt idx="73">
                  <c:v>52062</c:v>
                </c:pt>
                <c:pt idx="74">
                  <c:v>49879</c:v>
                </c:pt>
                <c:pt idx="75">
                  <c:v>47199</c:v>
                </c:pt>
                <c:pt idx="76">
                  <c:v>43412</c:v>
                </c:pt>
                <c:pt idx="77">
                  <c:v>38950</c:v>
                </c:pt>
                <c:pt idx="78">
                  <c:v>36016</c:v>
                </c:pt>
                <c:pt idx="79">
                  <c:v>34692</c:v>
                </c:pt>
                <c:pt idx="80">
                  <c:v>34021</c:v>
                </c:pt>
                <c:pt idx="81">
                  <c:v>34101</c:v>
                </c:pt>
                <c:pt idx="82">
                  <c:v>35667</c:v>
                </c:pt>
                <c:pt idx="83">
                  <c:v>38246</c:v>
                </c:pt>
                <c:pt idx="84">
                  <c:v>42262</c:v>
                </c:pt>
                <c:pt idx="85">
                  <c:v>46334</c:v>
                </c:pt>
                <c:pt idx="86">
                  <c:v>48523</c:v>
                </c:pt>
                <c:pt idx="87">
                  <c:v>48494</c:v>
                </c:pt>
                <c:pt idx="88">
                  <c:v>48760</c:v>
                </c:pt>
                <c:pt idx="89">
                  <c:v>48080</c:v>
                </c:pt>
                <c:pt idx="90">
                  <c:v>47563</c:v>
                </c:pt>
                <c:pt idx="91">
                  <c:v>46621</c:v>
                </c:pt>
                <c:pt idx="92">
                  <c:v>45828</c:v>
                </c:pt>
                <c:pt idx="93">
                  <c:v>45702</c:v>
                </c:pt>
                <c:pt idx="94">
                  <c:v>45304</c:v>
                </c:pt>
                <c:pt idx="95">
                  <c:v>44917</c:v>
                </c:pt>
                <c:pt idx="96">
                  <c:v>43749</c:v>
                </c:pt>
                <c:pt idx="97">
                  <c:v>43674</c:v>
                </c:pt>
                <c:pt idx="98">
                  <c:v>43319</c:v>
                </c:pt>
                <c:pt idx="99">
                  <c:v>43580</c:v>
                </c:pt>
                <c:pt idx="100">
                  <c:v>44061</c:v>
                </c:pt>
                <c:pt idx="101">
                  <c:v>43761</c:v>
                </c:pt>
                <c:pt idx="102">
                  <c:v>43532</c:v>
                </c:pt>
                <c:pt idx="103">
                  <c:v>44075</c:v>
                </c:pt>
                <c:pt idx="104">
                  <c:v>44631</c:v>
                </c:pt>
                <c:pt idx="105">
                  <c:v>44864</c:v>
                </c:pt>
                <c:pt idx="106">
                  <c:v>45515</c:v>
                </c:pt>
                <c:pt idx="107">
                  <c:v>45689</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01</c:v>
                </c:pt>
                <c:pt idx="12">
                  <c:v>0.01</c:v>
                </c:pt>
                <c:pt idx="13">
                  <c:v>0.01</c:v>
                </c:pt>
                <c:pt idx="14">
                  <c:v>0.35</c:v>
                </c:pt>
                <c:pt idx="15">
                  <c:v>0.12</c:v>
                </c:pt>
                <c:pt idx="16">
                  <c:v>0.04</c:v>
                </c:pt>
                <c:pt idx="17">
                  <c:v>0.02</c:v>
                </c:pt>
                <c:pt idx="18">
                  <c:v>0.01</c:v>
                </c:pt>
                <c:pt idx="19">
                  <c:v>0.01</c:v>
                </c:pt>
                <c:pt idx="20">
                  <c:v>0.01</c:v>
                </c:pt>
                <c:pt idx="21">
                  <c:v>0</c:v>
                </c:pt>
                <c:pt idx="22">
                  <c:v>0.01</c:v>
                </c:pt>
                <c:pt idx="23">
                  <c:v>0</c:v>
                </c:pt>
                <c:pt idx="24">
                  <c:v>0</c:v>
                </c:pt>
                <c:pt idx="25">
                  <c:v>0.01</c:v>
                </c:pt>
                <c:pt idx="26">
                  <c:v>0.01</c:v>
                </c:pt>
                <c:pt idx="27">
                  <c:v>0.01</c:v>
                </c:pt>
                <c:pt idx="28">
                  <c:v>0</c:v>
                </c:pt>
                <c:pt idx="29">
                  <c:v>0.01</c:v>
                </c:pt>
                <c:pt idx="30">
                  <c:v>0</c:v>
                </c:pt>
                <c:pt idx="31">
                  <c:v>0.01</c:v>
                </c:pt>
                <c:pt idx="32">
                  <c:v>0.01</c:v>
                </c:pt>
                <c:pt idx="33">
                  <c:v>0.01</c:v>
                </c:pt>
                <c:pt idx="34">
                  <c:v>0.01</c:v>
                </c:pt>
                <c:pt idx="35">
                  <c:v>0</c:v>
                </c:pt>
                <c:pt idx="36">
                  <c:v>0.01</c:v>
                </c:pt>
                <c:pt idx="37">
                  <c:v>0.01</c:v>
                </c:pt>
                <c:pt idx="38">
                  <c:v>0.01</c:v>
                </c:pt>
                <c:pt idx="39">
                  <c:v>0.01</c:v>
                </c:pt>
                <c:pt idx="40">
                  <c:v>0.02</c:v>
                </c:pt>
                <c:pt idx="41">
                  <c:v>0.02</c:v>
                </c:pt>
                <c:pt idx="42">
                  <c:v>0.02</c:v>
                </c:pt>
                <c:pt idx="43">
                  <c:v>0.02</c:v>
                </c:pt>
                <c:pt idx="44">
                  <c:v>0.01</c:v>
                </c:pt>
                <c:pt idx="45">
                  <c:v>0.02</c:v>
                </c:pt>
                <c:pt idx="46">
                  <c:v>0.03</c:v>
                </c:pt>
                <c:pt idx="47">
                  <c:v>0.02</c:v>
                </c:pt>
                <c:pt idx="48">
                  <c:v>0.02</c:v>
                </c:pt>
                <c:pt idx="49">
                  <c:v>0.02</c:v>
                </c:pt>
                <c:pt idx="50">
                  <c:v>0.02</c:v>
                </c:pt>
                <c:pt idx="51">
                  <c:v>0.02</c:v>
                </c:pt>
                <c:pt idx="52">
                  <c:v>0.02</c:v>
                </c:pt>
                <c:pt idx="53">
                  <c:v>0.03</c:v>
                </c:pt>
                <c:pt idx="54">
                  <c:v>0.02</c:v>
                </c:pt>
                <c:pt idx="55">
                  <c:v>0.02</c:v>
                </c:pt>
                <c:pt idx="56">
                  <c:v>0.02</c:v>
                </c:pt>
                <c:pt idx="57">
                  <c:v>0.03</c:v>
                </c:pt>
                <c:pt idx="58">
                  <c:v>0.02</c:v>
                </c:pt>
                <c:pt idx="59">
                  <c:v>0.02</c:v>
                </c:pt>
                <c:pt idx="60">
                  <c:v>0.02</c:v>
                </c:pt>
                <c:pt idx="61">
                  <c:v>0.02</c:v>
                </c:pt>
                <c:pt idx="62">
                  <c:v>0.03</c:v>
                </c:pt>
                <c:pt idx="63">
                  <c:v>0.02</c:v>
                </c:pt>
                <c:pt idx="64">
                  <c:v>0.02</c:v>
                </c:pt>
                <c:pt idx="65">
                  <c:v>0.02</c:v>
                </c:pt>
                <c:pt idx="66">
                  <c:v>0.02</c:v>
                </c:pt>
                <c:pt idx="67">
                  <c:v>0.02</c:v>
                </c:pt>
                <c:pt idx="68">
                  <c:v>0.02</c:v>
                </c:pt>
                <c:pt idx="69">
                  <c:v>0.02</c:v>
                </c:pt>
                <c:pt idx="70">
                  <c:v>0.02</c:v>
                </c:pt>
                <c:pt idx="71">
                  <c:v>0.02</c:v>
                </c:pt>
                <c:pt idx="72">
                  <c:v>0.02</c:v>
                </c:pt>
                <c:pt idx="73">
                  <c:v>0.02</c:v>
                </c:pt>
                <c:pt idx="74">
                  <c:v>0.01</c:v>
                </c:pt>
                <c:pt idx="75">
                  <c:v>0.02</c:v>
                </c:pt>
                <c:pt idx="76">
                  <c:v>0.02</c:v>
                </c:pt>
                <c:pt idx="77">
                  <c:v>0.02</c:v>
                </c:pt>
                <c:pt idx="78">
                  <c:v>0.03</c:v>
                </c:pt>
                <c:pt idx="79">
                  <c:v>0.02</c:v>
                </c:pt>
                <c:pt idx="80">
                  <c:v>0.04</c:v>
                </c:pt>
                <c:pt idx="81">
                  <c:v>0.02</c:v>
                </c:pt>
                <c:pt idx="82">
                  <c:v>0.02</c:v>
                </c:pt>
                <c:pt idx="83">
                  <c:v>0.01</c:v>
                </c:pt>
                <c:pt idx="84">
                  <c:v>0.01</c:v>
                </c:pt>
                <c:pt idx="85">
                  <c:v>0.01</c:v>
                </c:pt>
                <c:pt idx="86">
                  <c:v>0.01</c:v>
                </c:pt>
                <c:pt idx="87">
                  <c:v>0.02</c:v>
                </c:pt>
                <c:pt idx="88">
                  <c:v>0.02</c:v>
                </c:pt>
                <c:pt idx="89">
                  <c:v>0.02</c:v>
                </c:pt>
                <c:pt idx="90">
                  <c:v>0.03</c:v>
                </c:pt>
                <c:pt idx="91">
                  <c:v>0.02</c:v>
                </c:pt>
                <c:pt idx="92">
                  <c:v>0.02</c:v>
                </c:pt>
                <c:pt idx="93">
                  <c:v>0.02</c:v>
                </c:pt>
                <c:pt idx="94">
                  <c:v>0.02</c:v>
                </c:pt>
                <c:pt idx="95">
                  <c:v>0.01</c:v>
                </c:pt>
                <c:pt idx="96">
                  <c:v>0.02</c:v>
                </c:pt>
                <c:pt idx="97">
                  <c:v>0.02</c:v>
                </c:pt>
                <c:pt idx="98">
                  <c:v>0.02</c:v>
                </c:pt>
                <c:pt idx="99">
                  <c:v>0.02</c:v>
                </c:pt>
                <c:pt idx="100">
                  <c:v>0.02</c:v>
                </c:pt>
                <c:pt idx="101">
                  <c:v>0.02</c:v>
                </c:pt>
                <c:pt idx="102">
                  <c:v>0.02</c:v>
                </c:pt>
                <c:pt idx="103">
                  <c:v>0.02</c:v>
                </c:pt>
                <c:pt idx="104">
                  <c:v>0.02</c:v>
                </c:pt>
                <c:pt idx="105">
                  <c:v>0.03</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B$2:$B$99</c:f>
              <c:numCache>
                <c:formatCode>General</c:formatCode>
                <c:ptCount val="98"/>
                <c:pt idx="0">
                  <c:v>206</c:v>
                </c:pt>
                <c:pt idx="1">
                  <c:v>84</c:v>
                </c:pt>
                <c:pt idx="2">
                  <c:v>125</c:v>
                </c:pt>
                <c:pt idx="3">
                  <c:v>121</c:v>
                </c:pt>
                <c:pt idx="4">
                  <c:v>51</c:v>
                </c:pt>
                <c:pt idx="5">
                  <c:v>550</c:v>
                </c:pt>
                <c:pt idx="6">
                  <c:v>354</c:v>
                </c:pt>
                <c:pt idx="7">
                  <c:v>336</c:v>
                </c:pt>
                <c:pt idx="8">
                  <c:v>194</c:v>
                </c:pt>
                <c:pt idx="9">
                  <c:v>332</c:v>
                </c:pt>
                <c:pt idx="10">
                  <c:v>362</c:v>
                </c:pt>
                <c:pt idx="11">
                  <c:v>470</c:v>
                </c:pt>
                <c:pt idx="12">
                  <c:v>749</c:v>
                </c:pt>
                <c:pt idx="13">
                  <c:v>664</c:v>
                </c:pt>
                <c:pt idx="14">
                  <c:v>214</c:v>
                </c:pt>
                <c:pt idx="15">
                  <c:v>602</c:v>
                </c:pt>
                <c:pt idx="16">
                  <c:v>612</c:v>
                </c:pt>
                <c:pt idx="17">
                  <c:v>413</c:v>
                </c:pt>
                <c:pt idx="18">
                  <c:v>374</c:v>
                </c:pt>
                <c:pt idx="19">
                  <c:v>388</c:v>
                </c:pt>
                <c:pt idx="20">
                  <c:v>445</c:v>
                </c:pt>
                <c:pt idx="21">
                  <c:v>211</c:v>
                </c:pt>
                <c:pt idx="22">
                  <c:v>527</c:v>
                </c:pt>
                <c:pt idx="23">
                  <c:v>360</c:v>
                </c:pt>
                <c:pt idx="24">
                  <c:v>286</c:v>
                </c:pt>
                <c:pt idx="25">
                  <c:v>228</c:v>
                </c:pt>
                <c:pt idx="26">
                  <c:v>327</c:v>
                </c:pt>
                <c:pt idx="27">
                  <c:v>360</c:v>
                </c:pt>
                <c:pt idx="28">
                  <c:v>422</c:v>
                </c:pt>
                <c:pt idx="29">
                  <c:v>496</c:v>
                </c:pt>
                <c:pt idx="30">
                  <c:v>467</c:v>
                </c:pt>
                <c:pt idx="31">
                  <c:v>201</c:v>
                </c:pt>
                <c:pt idx="32">
                  <c:v>385</c:v>
                </c:pt>
                <c:pt idx="33">
                  <c:v>378</c:v>
                </c:pt>
                <c:pt idx="34">
                  <c:v>297</c:v>
                </c:pt>
                <c:pt idx="35">
                  <c:v>508</c:v>
                </c:pt>
                <c:pt idx="36">
                  <c:v>468</c:v>
                </c:pt>
                <c:pt idx="37">
                  <c:v>477</c:v>
                </c:pt>
                <c:pt idx="38">
                  <c:v>382</c:v>
                </c:pt>
                <c:pt idx="39">
                  <c:v>567</c:v>
                </c:pt>
                <c:pt idx="40">
                  <c:v>5840</c:v>
                </c:pt>
                <c:pt idx="41">
                  <c:v>10128</c:v>
                </c:pt>
                <c:pt idx="42">
                  <c:v>11567</c:v>
                </c:pt>
                <c:pt idx="43">
                  <c:v>12777</c:v>
                </c:pt>
                <c:pt idx="44">
                  <c:v>16244</c:v>
                </c:pt>
                <c:pt idx="45">
                  <c:v>19817</c:v>
                </c:pt>
                <c:pt idx="46">
                  <c:v>37584</c:v>
                </c:pt>
                <c:pt idx="47">
                  <c:v>35732</c:v>
                </c:pt>
                <c:pt idx="48">
                  <c:v>55479</c:v>
                </c:pt>
                <c:pt idx="49">
                  <c:v>89738</c:v>
                </c:pt>
                <c:pt idx="50">
                  <c:v>220308</c:v>
                </c:pt>
                <c:pt idx="51">
                  <c:v>439869</c:v>
                </c:pt>
                <c:pt idx="52">
                  <c:v>60057</c:v>
                </c:pt>
                <c:pt idx="53">
                  <c:v>4681</c:v>
                </c:pt>
                <c:pt idx="54">
                  <c:v>1539</c:v>
                </c:pt>
                <c:pt idx="55">
                  <c:v>898</c:v>
                </c:pt>
                <c:pt idx="56">
                  <c:v>418</c:v>
                </c:pt>
                <c:pt idx="57">
                  <c:v>452</c:v>
                </c:pt>
                <c:pt idx="58">
                  <c:v>211</c:v>
                </c:pt>
                <c:pt idx="59">
                  <c:v>104</c:v>
                </c:pt>
                <c:pt idx="60">
                  <c:v>58</c:v>
                </c:pt>
                <c:pt idx="61">
                  <c:v>67</c:v>
                </c:pt>
                <c:pt idx="62">
                  <c:v>39</c:v>
                </c:pt>
                <c:pt idx="63">
                  <c:v>243</c:v>
                </c:pt>
                <c:pt idx="64">
                  <c:v>28</c:v>
                </c:pt>
                <c:pt idx="65">
                  <c:v>52</c:v>
                </c:pt>
                <c:pt idx="66">
                  <c:v>38</c:v>
                </c:pt>
                <c:pt idx="67">
                  <c:v>30</c:v>
                </c:pt>
                <c:pt idx="68">
                  <c:v>14</c:v>
                </c:pt>
                <c:pt idx="69">
                  <c:v>8</c:v>
                </c:pt>
                <c:pt idx="70">
                  <c:v>41</c:v>
                </c:pt>
                <c:pt idx="71">
                  <c:v>37</c:v>
                </c:pt>
                <c:pt idx="72">
                  <c:v>8</c:v>
                </c:pt>
                <c:pt idx="73">
                  <c:v>0</c:v>
                </c:pt>
                <c:pt idx="74">
                  <c:v>0</c:v>
                </c:pt>
                <c:pt idx="75">
                  <c:v>12</c:v>
                </c:pt>
                <c:pt idx="76">
                  <c:v>3</c:v>
                </c:pt>
                <c:pt idx="77">
                  <c:v>4</c:v>
                </c:pt>
                <c:pt idx="78">
                  <c:v>4</c:v>
                </c:pt>
                <c:pt idx="79">
                  <c:v>4</c:v>
                </c:pt>
                <c:pt idx="80">
                  <c:v>4</c:v>
                </c:pt>
                <c:pt idx="81">
                  <c:v>8</c:v>
                </c:pt>
                <c:pt idx="82">
                  <c:v>8</c:v>
                </c:pt>
                <c:pt idx="83">
                  <c:v>8</c:v>
                </c:pt>
                <c:pt idx="84">
                  <c:v>23</c:v>
                </c:pt>
                <c:pt idx="85">
                  <c:v>8</c:v>
                </c:pt>
                <c:pt idx="86">
                  <c:v>0</c:v>
                </c:pt>
                <c:pt idx="87">
                  <c:v>18</c:v>
                </c:pt>
                <c:pt idx="88">
                  <c:v>12</c:v>
                </c:pt>
                <c:pt idx="89">
                  <c:v>10</c:v>
                </c:pt>
                <c:pt idx="90">
                  <c:v>14</c:v>
                </c:pt>
                <c:pt idx="91">
                  <c:v>7</c:v>
                </c:pt>
                <c:pt idx="92">
                  <c:v>15</c:v>
                </c:pt>
                <c:pt idx="93">
                  <c:v>0</c:v>
                </c:pt>
                <c:pt idx="94">
                  <c:v>37</c:v>
                </c:pt>
                <c:pt idx="95">
                  <c:v>30</c:v>
                </c:pt>
                <c:pt idx="96">
                  <c:v>45</c:v>
                </c:pt>
                <c:pt idx="97">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C$2:$C$99</c:f>
              <c:numCache>
                <c:formatCode>General</c:formatCode>
                <c:ptCount val="98"/>
                <c:pt idx="0">
                  <c:v>457</c:v>
                </c:pt>
                <c:pt idx="1">
                  <c:v>1459</c:v>
                </c:pt>
                <c:pt idx="2">
                  <c:v>4286</c:v>
                </c:pt>
                <c:pt idx="3">
                  <c:v>8176</c:v>
                </c:pt>
                <c:pt idx="4">
                  <c:v>9296</c:v>
                </c:pt>
                <c:pt idx="5">
                  <c:v>9445</c:v>
                </c:pt>
                <c:pt idx="6">
                  <c:v>8229</c:v>
                </c:pt>
                <c:pt idx="7">
                  <c:v>9439</c:v>
                </c:pt>
                <c:pt idx="8">
                  <c:v>11206</c:v>
                </c:pt>
                <c:pt idx="9">
                  <c:v>9030</c:v>
                </c:pt>
                <c:pt idx="10">
                  <c:v>8743</c:v>
                </c:pt>
                <c:pt idx="11">
                  <c:v>8725</c:v>
                </c:pt>
                <c:pt idx="12">
                  <c:v>9464</c:v>
                </c:pt>
                <c:pt idx="13">
                  <c:v>11287</c:v>
                </c:pt>
                <c:pt idx="14">
                  <c:v>11568</c:v>
                </c:pt>
                <c:pt idx="15">
                  <c:v>11046</c:v>
                </c:pt>
                <c:pt idx="16">
                  <c:v>10182</c:v>
                </c:pt>
                <c:pt idx="17">
                  <c:v>11421</c:v>
                </c:pt>
                <c:pt idx="18">
                  <c:v>10499</c:v>
                </c:pt>
                <c:pt idx="19">
                  <c:v>10837</c:v>
                </c:pt>
                <c:pt idx="20">
                  <c:v>10721</c:v>
                </c:pt>
                <c:pt idx="21">
                  <c:v>10176</c:v>
                </c:pt>
                <c:pt idx="22">
                  <c:v>10362</c:v>
                </c:pt>
                <c:pt idx="23">
                  <c:v>10990</c:v>
                </c:pt>
                <c:pt idx="24">
                  <c:v>11643</c:v>
                </c:pt>
                <c:pt idx="25">
                  <c:v>10327</c:v>
                </c:pt>
                <c:pt idx="26">
                  <c:v>11101</c:v>
                </c:pt>
                <c:pt idx="27">
                  <c:v>10170</c:v>
                </c:pt>
                <c:pt idx="28">
                  <c:v>10786</c:v>
                </c:pt>
                <c:pt idx="29">
                  <c:v>9828</c:v>
                </c:pt>
                <c:pt idx="30">
                  <c:v>10625</c:v>
                </c:pt>
                <c:pt idx="31">
                  <c:v>10389</c:v>
                </c:pt>
                <c:pt idx="32">
                  <c:v>10680</c:v>
                </c:pt>
                <c:pt idx="33">
                  <c:v>10455</c:v>
                </c:pt>
                <c:pt idx="34">
                  <c:v>9900</c:v>
                </c:pt>
                <c:pt idx="35">
                  <c:v>8819</c:v>
                </c:pt>
                <c:pt idx="36">
                  <c:v>8191</c:v>
                </c:pt>
                <c:pt idx="37">
                  <c:v>8770</c:v>
                </c:pt>
                <c:pt idx="38">
                  <c:v>8585</c:v>
                </c:pt>
                <c:pt idx="39">
                  <c:v>8391</c:v>
                </c:pt>
                <c:pt idx="40">
                  <c:v>8294</c:v>
                </c:pt>
                <c:pt idx="41">
                  <c:v>8139</c:v>
                </c:pt>
                <c:pt idx="42">
                  <c:v>7766</c:v>
                </c:pt>
                <c:pt idx="43">
                  <c:v>7486</c:v>
                </c:pt>
                <c:pt idx="44">
                  <c:v>7667</c:v>
                </c:pt>
                <c:pt idx="45">
                  <c:v>7371</c:v>
                </c:pt>
                <c:pt idx="46">
                  <c:v>6286</c:v>
                </c:pt>
                <c:pt idx="47">
                  <c:v>6669</c:v>
                </c:pt>
                <c:pt idx="48">
                  <c:v>5818</c:v>
                </c:pt>
                <c:pt idx="49">
                  <c:v>4054</c:v>
                </c:pt>
                <c:pt idx="50">
                  <c:v>3195</c:v>
                </c:pt>
                <c:pt idx="51">
                  <c:v>4301</c:v>
                </c:pt>
                <c:pt idx="52">
                  <c:v>2397</c:v>
                </c:pt>
                <c:pt idx="53">
                  <c:v>489</c:v>
                </c:pt>
                <c:pt idx="54">
                  <c:v>177</c:v>
                </c:pt>
                <c:pt idx="55">
                  <c:v>21</c:v>
                </c:pt>
                <c:pt idx="56">
                  <c:v>37</c:v>
                </c:pt>
                <c:pt idx="57">
                  <c:v>44</c:v>
                </c:pt>
                <c:pt idx="58">
                  <c:v>35</c:v>
                </c:pt>
                <c:pt idx="59">
                  <c:v>86</c:v>
                </c:pt>
                <c:pt idx="60">
                  <c:v>51</c:v>
                </c:pt>
                <c:pt idx="61">
                  <c:v>34</c:v>
                </c:pt>
                <c:pt idx="62">
                  <c:v>61</c:v>
                </c:pt>
                <c:pt idx="63">
                  <c:v>22</c:v>
                </c:pt>
                <c:pt idx="64">
                  <c:v>44</c:v>
                </c:pt>
                <c:pt idx="65">
                  <c:v>-3</c:v>
                </c:pt>
                <c:pt idx="66">
                  <c:v>10</c:v>
                </c:pt>
                <c:pt idx="67">
                  <c:v>7</c:v>
                </c:pt>
                <c:pt idx="68">
                  <c:v>0</c:v>
                </c:pt>
                <c:pt idx="69">
                  <c:v>24</c:v>
                </c:pt>
                <c:pt idx="70">
                  <c:v>39</c:v>
                </c:pt>
                <c:pt idx="71">
                  <c:v>16</c:v>
                </c:pt>
                <c:pt idx="72">
                  <c:v>3</c:v>
                </c:pt>
                <c:pt idx="73">
                  <c:v>40</c:v>
                </c:pt>
                <c:pt idx="74">
                  <c:v>12</c:v>
                </c:pt>
                <c:pt idx="75">
                  <c:v>0</c:v>
                </c:pt>
                <c:pt idx="76">
                  <c:v>0</c:v>
                </c:pt>
                <c:pt idx="77">
                  <c:v>0</c:v>
                </c:pt>
                <c:pt idx="78">
                  <c:v>0</c:v>
                </c:pt>
                <c:pt idx="79">
                  <c:v>0</c:v>
                </c:pt>
                <c:pt idx="80">
                  <c:v>4</c:v>
                </c:pt>
                <c:pt idx="81">
                  <c:v>0</c:v>
                </c:pt>
                <c:pt idx="82">
                  <c:v>0</c:v>
                </c:pt>
                <c:pt idx="83">
                  <c:v>0</c:v>
                </c:pt>
                <c:pt idx="84">
                  <c:v>18</c:v>
                </c:pt>
                <c:pt idx="85">
                  <c:v>0</c:v>
                </c:pt>
                <c:pt idx="86">
                  <c:v>36</c:v>
                </c:pt>
                <c:pt idx="87">
                  <c:v>0</c:v>
                </c:pt>
                <c:pt idx="88">
                  <c:v>4</c:v>
                </c:pt>
                <c:pt idx="89">
                  <c:v>0</c:v>
                </c:pt>
                <c:pt idx="90">
                  <c:v>13</c:v>
                </c:pt>
                <c:pt idx="91">
                  <c:v>0</c:v>
                </c:pt>
                <c:pt idx="92">
                  <c:v>9</c:v>
                </c:pt>
                <c:pt idx="93">
                  <c:v>99</c:v>
                </c:pt>
                <c:pt idx="94">
                  <c:v>213</c:v>
                </c:pt>
                <c:pt idx="95">
                  <c:v>783</c:v>
                </c:pt>
                <c:pt idx="96">
                  <c:v>3837</c:v>
                </c:pt>
                <c:pt idx="97">
                  <c:v>633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D$2:$D$99</c:f>
              <c:numCache>
                <c:formatCode>General</c:formatCode>
                <c:ptCount val="98"/>
                <c:pt idx="0">
                  <c:v>663</c:v>
                </c:pt>
                <c:pt idx="1">
                  <c:v>1543</c:v>
                </c:pt>
                <c:pt idx="2">
                  <c:v>4411</c:v>
                </c:pt>
                <c:pt idx="3">
                  <c:v>8297</c:v>
                </c:pt>
                <c:pt idx="4">
                  <c:v>9347</c:v>
                </c:pt>
                <c:pt idx="5">
                  <c:v>9995</c:v>
                </c:pt>
                <c:pt idx="6">
                  <c:v>8583</c:v>
                </c:pt>
                <c:pt idx="7">
                  <c:v>9775</c:v>
                </c:pt>
                <c:pt idx="8">
                  <c:v>11400</c:v>
                </c:pt>
                <c:pt idx="9">
                  <c:v>9362</c:v>
                </c:pt>
                <c:pt idx="10">
                  <c:v>9105</c:v>
                </c:pt>
                <c:pt idx="11">
                  <c:v>9195</c:v>
                </c:pt>
                <c:pt idx="12">
                  <c:v>10213</c:v>
                </c:pt>
                <c:pt idx="13">
                  <c:v>11951</c:v>
                </c:pt>
                <c:pt idx="14">
                  <c:v>11782</c:v>
                </c:pt>
                <c:pt idx="15">
                  <c:v>11648</c:v>
                </c:pt>
                <c:pt idx="16">
                  <c:v>10794</c:v>
                </c:pt>
                <c:pt idx="17">
                  <c:v>11834</c:v>
                </c:pt>
                <c:pt idx="18">
                  <c:v>10873</c:v>
                </c:pt>
                <c:pt idx="19">
                  <c:v>11225</c:v>
                </c:pt>
                <c:pt idx="20">
                  <c:v>11166</c:v>
                </c:pt>
                <c:pt idx="21">
                  <c:v>10387</c:v>
                </c:pt>
                <c:pt idx="22">
                  <c:v>10889</c:v>
                </c:pt>
                <c:pt idx="23">
                  <c:v>11350</c:v>
                </c:pt>
                <c:pt idx="24">
                  <c:v>11929</c:v>
                </c:pt>
                <c:pt idx="25">
                  <c:v>10555</c:v>
                </c:pt>
                <c:pt idx="26">
                  <c:v>11428</c:v>
                </c:pt>
                <c:pt idx="27">
                  <c:v>10530</c:v>
                </c:pt>
                <c:pt idx="28">
                  <c:v>11208</c:v>
                </c:pt>
                <c:pt idx="29">
                  <c:v>10324</c:v>
                </c:pt>
                <c:pt idx="30">
                  <c:v>11092</c:v>
                </c:pt>
                <c:pt idx="31">
                  <c:v>10590</c:v>
                </c:pt>
                <c:pt idx="32">
                  <c:v>11065</c:v>
                </c:pt>
                <c:pt idx="33">
                  <c:v>10833</c:v>
                </c:pt>
                <c:pt idx="34">
                  <c:v>10197</c:v>
                </c:pt>
                <c:pt idx="35">
                  <c:v>9327</c:v>
                </c:pt>
                <c:pt idx="36">
                  <c:v>8659</c:v>
                </c:pt>
                <c:pt idx="37">
                  <c:v>9247</c:v>
                </c:pt>
                <c:pt idx="38">
                  <c:v>8967</c:v>
                </c:pt>
                <c:pt idx="39">
                  <c:v>8958</c:v>
                </c:pt>
                <c:pt idx="40">
                  <c:v>14134</c:v>
                </c:pt>
                <c:pt idx="41">
                  <c:v>18267</c:v>
                </c:pt>
                <c:pt idx="42">
                  <c:v>19333</c:v>
                </c:pt>
                <c:pt idx="43">
                  <c:v>20263</c:v>
                </c:pt>
                <c:pt idx="44">
                  <c:v>23911</c:v>
                </c:pt>
                <c:pt idx="45">
                  <c:v>27188</c:v>
                </c:pt>
                <c:pt idx="46">
                  <c:v>43870</c:v>
                </c:pt>
                <c:pt idx="47">
                  <c:v>42401</c:v>
                </c:pt>
                <c:pt idx="48">
                  <c:v>61297</c:v>
                </c:pt>
                <c:pt idx="49">
                  <c:v>93792</c:v>
                </c:pt>
                <c:pt idx="50">
                  <c:v>223503</c:v>
                </c:pt>
                <c:pt idx="51">
                  <c:v>444170</c:v>
                </c:pt>
                <c:pt idx="52">
                  <c:v>62454</c:v>
                </c:pt>
                <c:pt idx="53">
                  <c:v>5170</c:v>
                </c:pt>
                <c:pt idx="54">
                  <c:v>1716</c:v>
                </c:pt>
                <c:pt idx="55">
                  <c:v>919</c:v>
                </c:pt>
                <c:pt idx="56">
                  <c:v>455</c:v>
                </c:pt>
                <c:pt idx="57">
                  <c:v>496</c:v>
                </c:pt>
                <c:pt idx="58">
                  <c:v>246</c:v>
                </c:pt>
                <c:pt idx="59">
                  <c:v>190</c:v>
                </c:pt>
                <c:pt idx="60">
                  <c:v>109</c:v>
                </c:pt>
                <c:pt idx="61">
                  <c:v>101</c:v>
                </c:pt>
                <c:pt idx="62">
                  <c:v>100</c:v>
                </c:pt>
                <c:pt idx="63">
                  <c:v>265</c:v>
                </c:pt>
                <c:pt idx="64">
                  <c:v>72</c:v>
                </c:pt>
                <c:pt idx="65">
                  <c:v>49</c:v>
                </c:pt>
                <c:pt idx="66">
                  <c:v>48</c:v>
                </c:pt>
                <c:pt idx="67">
                  <c:v>37</c:v>
                </c:pt>
                <c:pt idx="68">
                  <c:v>14</c:v>
                </c:pt>
                <c:pt idx="69">
                  <c:v>32</c:v>
                </c:pt>
                <c:pt idx="70">
                  <c:v>80</c:v>
                </c:pt>
                <c:pt idx="71">
                  <c:v>53</c:v>
                </c:pt>
                <c:pt idx="72">
                  <c:v>11</c:v>
                </c:pt>
                <c:pt idx="73">
                  <c:v>40</c:v>
                </c:pt>
                <c:pt idx="74">
                  <c:v>12</c:v>
                </c:pt>
                <c:pt idx="75">
                  <c:v>12</c:v>
                </c:pt>
                <c:pt idx="76">
                  <c:v>3</c:v>
                </c:pt>
                <c:pt idx="77">
                  <c:v>4</c:v>
                </c:pt>
                <c:pt idx="78">
                  <c:v>4</c:v>
                </c:pt>
                <c:pt idx="79">
                  <c:v>4</c:v>
                </c:pt>
                <c:pt idx="80">
                  <c:v>8</c:v>
                </c:pt>
                <c:pt idx="81">
                  <c:v>8</c:v>
                </c:pt>
                <c:pt idx="82">
                  <c:v>8</c:v>
                </c:pt>
                <c:pt idx="83">
                  <c:v>8</c:v>
                </c:pt>
                <c:pt idx="84">
                  <c:v>41</c:v>
                </c:pt>
                <c:pt idx="85">
                  <c:v>8</c:v>
                </c:pt>
                <c:pt idx="86">
                  <c:v>36</c:v>
                </c:pt>
                <c:pt idx="87">
                  <c:v>18</c:v>
                </c:pt>
                <c:pt idx="88">
                  <c:v>16</c:v>
                </c:pt>
                <c:pt idx="89">
                  <c:v>10</c:v>
                </c:pt>
                <c:pt idx="90">
                  <c:v>27</c:v>
                </c:pt>
                <c:pt idx="91">
                  <c:v>7</c:v>
                </c:pt>
                <c:pt idx="92">
                  <c:v>24</c:v>
                </c:pt>
                <c:pt idx="93">
                  <c:v>99</c:v>
                </c:pt>
                <c:pt idx="94">
                  <c:v>250</c:v>
                </c:pt>
                <c:pt idx="95">
                  <c:v>813</c:v>
                </c:pt>
                <c:pt idx="96">
                  <c:v>3882</c:v>
                </c:pt>
                <c:pt idx="97">
                  <c:v>641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E$2:$E$99</c:f>
              <c:numCache>
                <c:formatCode>General</c:formatCode>
                <c:ptCount val="98"/>
                <c:pt idx="0">
                  <c:v>3323</c:v>
                </c:pt>
                <c:pt idx="1">
                  <c:v>4737</c:v>
                </c:pt>
                <c:pt idx="2">
                  <c:v>5671</c:v>
                </c:pt>
                <c:pt idx="3">
                  <c:v>6122</c:v>
                </c:pt>
                <c:pt idx="4">
                  <c:v>6625</c:v>
                </c:pt>
                <c:pt idx="5">
                  <c:v>7943</c:v>
                </c:pt>
                <c:pt idx="6">
                  <c:v>9000</c:v>
                </c:pt>
                <c:pt idx="7">
                  <c:v>9601</c:v>
                </c:pt>
                <c:pt idx="8">
                  <c:v>9729</c:v>
                </c:pt>
                <c:pt idx="9">
                  <c:v>9805</c:v>
                </c:pt>
                <c:pt idx="10">
                  <c:v>9946</c:v>
                </c:pt>
                <c:pt idx="11">
                  <c:v>10399</c:v>
                </c:pt>
                <c:pt idx="12">
                  <c:v>10715</c:v>
                </c:pt>
                <c:pt idx="13">
                  <c:v>10627</c:v>
                </c:pt>
                <c:pt idx="14">
                  <c:v>10884</c:v>
                </c:pt>
                <c:pt idx="15">
                  <c:v>11095</c:v>
                </c:pt>
                <c:pt idx="16">
                  <c:v>11331</c:v>
                </c:pt>
                <c:pt idx="17">
                  <c:v>11528</c:v>
                </c:pt>
                <c:pt idx="18">
                  <c:v>11262</c:v>
                </c:pt>
                <c:pt idx="19">
                  <c:v>11066</c:v>
                </c:pt>
                <c:pt idx="20">
                  <c:v>11331</c:v>
                </c:pt>
                <c:pt idx="21">
                  <c:v>11367</c:v>
                </c:pt>
                <c:pt idx="22">
                  <c:v>11251</c:v>
                </c:pt>
                <c:pt idx="23">
                  <c:v>11334</c:v>
                </c:pt>
                <c:pt idx="24">
                  <c:v>11266</c:v>
                </c:pt>
                <c:pt idx="25">
                  <c:v>11297</c:v>
                </c:pt>
                <c:pt idx="26">
                  <c:v>11331</c:v>
                </c:pt>
                <c:pt idx="27">
                  <c:v>11328</c:v>
                </c:pt>
                <c:pt idx="28">
                  <c:v>11181</c:v>
                </c:pt>
                <c:pt idx="29">
                  <c:v>11056</c:v>
                </c:pt>
                <c:pt idx="30">
                  <c:v>11069</c:v>
                </c:pt>
                <c:pt idx="31">
                  <c:v>10853</c:v>
                </c:pt>
                <c:pt idx="32">
                  <c:v>10687</c:v>
                </c:pt>
                <c:pt idx="33">
                  <c:v>10308</c:v>
                </c:pt>
                <c:pt idx="34">
                  <c:v>10136</c:v>
                </c:pt>
                <c:pt idx="35">
                  <c:v>9897</c:v>
                </c:pt>
                <c:pt idx="36">
                  <c:v>9624</c:v>
                </c:pt>
                <c:pt idx="37">
                  <c:v>9415</c:v>
                </c:pt>
                <c:pt idx="38">
                  <c:v>9185</c:v>
                </c:pt>
                <c:pt idx="39">
                  <c:v>9004</c:v>
                </c:pt>
                <c:pt idx="40">
                  <c:v>14157</c:v>
                </c:pt>
                <c:pt idx="41">
                  <c:v>18146</c:v>
                </c:pt>
                <c:pt idx="42">
                  <c:v>19560</c:v>
                </c:pt>
                <c:pt idx="43">
                  <c:v>20781</c:v>
                </c:pt>
                <c:pt idx="44">
                  <c:v>24029</c:v>
                </c:pt>
                <c:pt idx="45">
                  <c:v>27235</c:v>
                </c:pt>
                <c:pt idx="46">
                  <c:v>36687</c:v>
                </c:pt>
                <c:pt idx="47">
                  <c:v>36030</c:v>
                </c:pt>
                <c:pt idx="48">
                  <c:v>40451</c:v>
                </c:pt>
                <c:pt idx="49">
                  <c:v>40418</c:v>
                </c:pt>
                <c:pt idx="50">
                  <c:v>40891</c:v>
                </c:pt>
                <c:pt idx="51">
                  <c:v>39496</c:v>
                </c:pt>
                <c:pt idx="52">
                  <c:v>37302</c:v>
                </c:pt>
                <c:pt idx="53">
                  <c:v>16352</c:v>
                </c:pt>
                <c:pt idx="54">
                  <c:v>6076</c:v>
                </c:pt>
                <c:pt idx="55">
                  <c:v>3481</c:v>
                </c:pt>
                <c:pt idx="56">
                  <c:v>1037</c:v>
                </c:pt>
                <c:pt idx="57">
                  <c:v>1587</c:v>
                </c:pt>
                <c:pt idx="58">
                  <c:v>642</c:v>
                </c:pt>
                <c:pt idx="59">
                  <c:v>658</c:v>
                </c:pt>
                <c:pt idx="60">
                  <c:v>323</c:v>
                </c:pt>
                <c:pt idx="61">
                  <c:v>299</c:v>
                </c:pt>
                <c:pt idx="62">
                  <c:v>155</c:v>
                </c:pt>
                <c:pt idx="63">
                  <c:v>361</c:v>
                </c:pt>
                <c:pt idx="64">
                  <c:v>110</c:v>
                </c:pt>
                <c:pt idx="65">
                  <c:v>68</c:v>
                </c:pt>
                <c:pt idx="66">
                  <c:v>73</c:v>
                </c:pt>
                <c:pt idx="67">
                  <c:v>90</c:v>
                </c:pt>
                <c:pt idx="68">
                  <c:v>21</c:v>
                </c:pt>
                <c:pt idx="69">
                  <c:v>51</c:v>
                </c:pt>
                <c:pt idx="70">
                  <c:v>125</c:v>
                </c:pt>
                <c:pt idx="71">
                  <c:v>77</c:v>
                </c:pt>
                <c:pt idx="72">
                  <c:v>37</c:v>
                </c:pt>
                <c:pt idx="73">
                  <c:v>27</c:v>
                </c:pt>
                <c:pt idx="74">
                  <c:v>25</c:v>
                </c:pt>
                <c:pt idx="75">
                  <c:v>15</c:v>
                </c:pt>
                <c:pt idx="76">
                  <c:v>4</c:v>
                </c:pt>
                <c:pt idx="77">
                  <c:v>4</c:v>
                </c:pt>
                <c:pt idx="78">
                  <c:v>6</c:v>
                </c:pt>
                <c:pt idx="79">
                  <c:v>6</c:v>
                </c:pt>
                <c:pt idx="80">
                  <c:v>26</c:v>
                </c:pt>
                <c:pt idx="81">
                  <c:v>8</c:v>
                </c:pt>
                <c:pt idx="82">
                  <c:v>8</c:v>
                </c:pt>
                <c:pt idx="83">
                  <c:v>8</c:v>
                </c:pt>
                <c:pt idx="84">
                  <c:v>45</c:v>
                </c:pt>
                <c:pt idx="85">
                  <c:v>8</c:v>
                </c:pt>
                <c:pt idx="86">
                  <c:v>36</c:v>
                </c:pt>
                <c:pt idx="87">
                  <c:v>26</c:v>
                </c:pt>
                <c:pt idx="88">
                  <c:v>46</c:v>
                </c:pt>
                <c:pt idx="89">
                  <c:v>18</c:v>
                </c:pt>
                <c:pt idx="90">
                  <c:v>88</c:v>
                </c:pt>
                <c:pt idx="91">
                  <c:v>15</c:v>
                </c:pt>
                <c:pt idx="92">
                  <c:v>184</c:v>
                </c:pt>
                <c:pt idx="93">
                  <c:v>736</c:v>
                </c:pt>
                <c:pt idx="94">
                  <c:v>1719</c:v>
                </c:pt>
                <c:pt idx="95">
                  <c:v>2826</c:v>
                </c:pt>
                <c:pt idx="96">
                  <c:v>3940</c:v>
                </c:pt>
                <c:pt idx="97">
                  <c:v>523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F$2:$F$99</c:f>
              <c:numCache>
                <c:formatCode>General</c:formatCode>
                <c:ptCount val="98"/>
                <c:pt idx="0">
                  <c:v>0.36</c:v>
                </c:pt>
                <c:pt idx="1">
                  <c:v>7.0000000000000007E-2</c:v>
                </c:pt>
                <c:pt idx="2">
                  <c:v>0.06</c:v>
                </c:pt>
                <c:pt idx="3">
                  <c:v>0.03</c:v>
                </c:pt>
                <c:pt idx="4">
                  <c:v>0.01</c:v>
                </c:pt>
                <c:pt idx="5">
                  <c:v>0.06</c:v>
                </c:pt>
                <c:pt idx="6">
                  <c:v>0.06</c:v>
                </c:pt>
                <c:pt idx="7">
                  <c:v>0.06</c:v>
                </c:pt>
                <c:pt idx="8">
                  <c:v>0.02</c:v>
                </c:pt>
                <c:pt idx="9">
                  <c:v>0.05</c:v>
                </c:pt>
                <c:pt idx="10">
                  <c:v>0.05</c:v>
                </c:pt>
                <c:pt idx="11">
                  <c:v>7.0000000000000007E-2</c:v>
                </c:pt>
                <c:pt idx="12">
                  <c:v>0.08</c:v>
                </c:pt>
                <c:pt idx="13">
                  <c:v>7.0000000000000007E-2</c:v>
                </c:pt>
                <c:pt idx="14">
                  <c:v>0.03</c:v>
                </c:pt>
                <c:pt idx="15">
                  <c:v>0.06</c:v>
                </c:pt>
                <c:pt idx="16">
                  <c:v>0.06</c:v>
                </c:pt>
                <c:pt idx="17">
                  <c:v>0.05</c:v>
                </c:pt>
                <c:pt idx="18">
                  <c:v>0.06</c:v>
                </c:pt>
                <c:pt idx="19">
                  <c:v>0.05</c:v>
                </c:pt>
                <c:pt idx="20">
                  <c:v>0.05</c:v>
                </c:pt>
                <c:pt idx="21">
                  <c:v>0.05</c:v>
                </c:pt>
                <c:pt idx="22">
                  <c:v>7.0000000000000007E-2</c:v>
                </c:pt>
                <c:pt idx="23">
                  <c:v>0.08</c:v>
                </c:pt>
                <c:pt idx="24">
                  <c:v>0.06</c:v>
                </c:pt>
                <c:pt idx="25">
                  <c:v>0.05</c:v>
                </c:pt>
                <c:pt idx="26">
                  <c:v>7.0000000000000007E-2</c:v>
                </c:pt>
                <c:pt idx="27">
                  <c:v>0.06</c:v>
                </c:pt>
                <c:pt idx="28">
                  <c:v>0.05</c:v>
                </c:pt>
                <c:pt idx="29">
                  <c:v>0.06</c:v>
                </c:pt>
                <c:pt idx="30">
                  <c:v>0.05</c:v>
                </c:pt>
                <c:pt idx="31">
                  <c:v>0.04</c:v>
                </c:pt>
                <c:pt idx="32">
                  <c:v>0.04</c:v>
                </c:pt>
                <c:pt idx="33">
                  <c:v>0.04</c:v>
                </c:pt>
                <c:pt idx="34">
                  <c:v>0.03</c:v>
                </c:pt>
                <c:pt idx="35">
                  <c:v>0.06</c:v>
                </c:pt>
                <c:pt idx="36">
                  <c:v>0.06</c:v>
                </c:pt>
                <c:pt idx="37">
                  <c:v>0.08</c:v>
                </c:pt>
                <c:pt idx="38">
                  <c:v>0.05</c:v>
                </c:pt>
                <c:pt idx="39">
                  <c:v>7.0000000000000007E-2</c:v>
                </c:pt>
                <c:pt idx="40">
                  <c:v>0.45</c:v>
                </c:pt>
                <c:pt idx="41">
                  <c:v>0.59</c:v>
                </c:pt>
                <c:pt idx="42">
                  <c:v>0.63</c:v>
                </c:pt>
                <c:pt idx="43">
                  <c:v>0.66</c:v>
                </c:pt>
                <c:pt idx="44">
                  <c:v>0.71</c:v>
                </c:pt>
                <c:pt idx="45">
                  <c:v>0.76</c:v>
                </c:pt>
                <c:pt idx="46">
                  <c:v>0.88</c:v>
                </c:pt>
                <c:pt idx="47">
                  <c:v>0.86</c:v>
                </c:pt>
                <c:pt idx="48">
                  <c:v>0.92</c:v>
                </c:pt>
                <c:pt idx="49">
                  <c:v>0.96</c:v>
                </c:pt>
                <c:pt idx="50">
                  <c:v>0.99</c:v>
                </c:pt>
                <c:pt idx="51">
                  <c:v>1</c:v>
                </c:pt>
                <c:pt idx="52">
                  <c:v>0.99</c:v>
                </c:pt>
                <c:pt idx="53">
                  <c:v>0.98</c:v>
                </c:pt>
                <c:pt idx="54">
                  <c:v>0.95</c:v>
                </c:pt>
                <c:pt idx="55">
                  <c:v>0.99</c:v>
                </c:pt>
                <c:pt idx="56">
                  <c:v>0.95</c:v>
                </c:pt>
                <c:pt idx="57">
                  <c:v>0.98</c:v>
                </c:pt>
                <c:pt idx="58">
                  <c:v>0.94</c:v>
                </c:pt>
                <c:pt idx="59">
                  <c:v>0.82</c:v>
                </c:pt>
                <c:pt idx="60">
                  <c:v>0.8</c:v>
                </c:pt>
                <c:pt idx="61">
                  <c:v>0.82</c:v>
                </c:pt>
                <c:pt idx="62">
                  <c:v>0.67</c:v>
                </c:pt>
                <c:pt idx="63">
                  <c:v>0.95</c:v>
                </c:pt>
                <c:pt idx="64">
                  <c:v>0.7</c:v>
                </c:pt>
                <c:pt idx="65">
                  <c:v>1</c:v>
                </c:pt>
                <c:pt idx="66">
                  <c:v>1</c:v>
                </c:pt>
                <c:pt idx="67">
                  <c:v>0.8</c:v>
                </c:pt>
                <c:pt idx="68">
                  <c:v>1</c:v>
                </c:pt>
                <c:pt idx="69">
                  <c:v>0.5</c:v>
                </c:pt>
                <c:pt idx="70">
                  <c:v>0.79</c:v>
                </c:pt>
                <c:pt idx="71">
                  <c:v>0.71</c:v>
                </c:pt>
                <c:pt idx="72">
                  <c:v>0.67</c:v>
                </c:pt>
                <c:pt idx="73">
                  <c:v>0</c:v>
                </c:pt>
                <c:pt idx="74">
                  <c:v>0</c:v>
                </c:pt>
                <c:pt idx="75">
                  <c:v>1</c:v>
                </c:pt>
                <c:pt idx="76">
                  <c:v>1</c:v>
                </c:pt>
                <c:pt idx="77">
                  <c:v>1</c:v>
                </c:pt>
                <c:pt idx="78">
                  <c:v>1</c:v>
                </c:pt>
                <c:pt idx="79">
                  <c:v>1</c:v>
                </c:pt>
                <c:pt idx="80">
                  <c:v>0.5</c:v>
                </c:pt>
                <c:pt idx="81">
                  <c:v>1</c:v>
                </c:pt>
                <c:pt idx="82">
                  <c:v>1</c:v>
                </c:pt>
                <c:pt idx="83">
                  <c:v>1</c:v>
                </c:pt>
                <c:pt idx="84">
                  <c:v>0.67</c:v>
                </c:pt>
                <c:pt idx="85">
                  <c:v>1</c:v>
                </c:pt>
                <c:pt idx="86">
                  <c:v>0</c:v>
                </c:pt>
                <c:pt idx="87">
                  <c:v>1</c:v>
                </c:pt>
                <c:pt idx="88">
                  <c:v>0.5</c:v>
                </c:pt>
                <c:pt idx="89">
                  <c:v>1</c:v>
                </c:pt>
                <c:pt idx="90">
                  <c:v>0.67</c:v>
                </c:pt>
                <c:pt idx="91">
                  <c:v>1</c:v>
                </c:pt>
                <c:pt idx="92">
                  <c:v>0.5</c:v>
                </c:pt>
                <c:pt idx="93">
                  <c:v>0</c:v>
                </c:pt>
                <c:pt idx="94">
                  <c:v>0.24</c:v>
                </c:pt>
                <c:pt idx="95">
                  <c:v>0.04</c:v>
                </c:pt>
                <c:pt idx="96">
                  <c:v>0.01</c:v>
                </c:pt>
                <c:pt idx="97">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28684</c:v>
                </c:pt>
                <c:pt idx="1">
                  <c:v>12860</c:v>
                </c:pt>
                <c:pt idx="2">
                  <c:v>8507</c:v>
                </c:pt>
                <c:pt idx="3">
                  <c:v>4909</c:v>
                </c:pt>
                <c:pt idx="4">
                  <c:v>2850</c:v>
                </c:pt>
                <c:pt idx="5">
                  <c:v>18860</c:v>
                </c:pt>
                <c:pt idx="6">
                  <c:v>25667</c:v>
                </c:pt>
                <c:pt idx="7">
                  <c:v>29408</c:v>
                </c:pt>
                <c:pt idx="8">
                  <c:v>22129</c:v>
                </c:pt>
                <c:pt idx="9">
                  <c:v>22866</c:v>
                </c:pt>
                <c:pt idx="10">
                  <c:v>25188</c:v>
                </c:pt>
                <c:pt idx="11">
                  <c:v>23703</c:v>
                </c:pt>
                <c:pt idx="12">
                  <c:v>20699</c:v>
                </c:pt>
                <c:pt idx="13">
                  <c:v>21900</c:v>
                </c:pt>
                <c:pt idx="14">
                  <c:v>21580</c:v>
                </c:pt>
                <c:pt idx="15">
                  <c:v>27644</c:v>
                </c:pt>
                <c:pt idx="16">
                  <c:v>16636</c:v>
                </c:pt>
                <c:pt idx="17">
                  <c:v>5147</c:v>
                </c:pt>
                <c:pt idx="18">
                  <c:v>490</c:v>
                </c:pt>
                <c:pt idx="19">
                  <c:v>269</c:v>
                </c:pt>
                <c:pt idx="20">
                  <c:v>687</c:v>
                </c:pt>
                <c:pt idx="21">
                  <c:v>592</c:v>
                </c:pt>
                <c:pt idx="22">
                  <c:v>434</c:v>
                </c:pt>
                <c:pt idx="23">
                  <c:v>596</c:v>
                </c:pt>
                <c:pt idx="24">
                  <c:v>780</c:v>
                </c:pt>
                <c:pt idx="25">
                  <c:v>582</c:v>
                </c:pt>
                <c:pt idx="26">
                  <c:v>511</c:v>
                </c:pt>
                <c:pt idx="27">
                  <c:v>17183</c:v>
                </c:pt>
                <c:pt idx="28">
                  <c:v>35408</c:v>
                </c:pt>
                <c:pt idx="29">
                  <c:v>22363</c:v>
                </c:pt>
                <c:pt idx="30">
                  <c:v>26452</c:v>
                </c:pt>
                <c:pt idx="31">
                  <c:v>29915</c:v>
                </c:pt>
                <c:pt idx="32">
                  <c:v>25549</c:v>
                </c:pt>
                <c:pt idx="33">
                  <c:v>31956</c:v>
                </c:pt>
                <c:pt idx="34">
                  <c:v>38419</c:v>
                </c:pt>
                <c:pt idx="35">
                  <c:v>14298</c:v>
                </c:pt>
                <c:pt idx="36">
                  <c:v>1211</c:v>
                </c:pt>
                <c:pt idx="37">
                  <c:v>437</c:v>
                </c:pt>
                <c:pt idx="38">
                  <c:v>10602</c:v>
                </c:pt>
                <c:pt idx="39">
                  <c:v>20341</c:v>
                </c:pt>
                <c:pt idx="40">
                  <c:v>29178</c:v>
                </c:pt>
                <c:pt idx="41">
                  <c:v>38051</c:v>
                </c:pt>
                <c:pt idx="42">
                  <c:v>30471</c:v>
                </c:pt>
                <c:pt idx="43">
                  <c:v>25339</c:v>
                </c:pt>
                <c:pt idx="44">
                  <c:v>1958</c:v>
                </c:pt>
                <c:pt idx="45">
                  <c:v>161</c:v>
                </c:pt>
                <c:pt idx="46">
                  <c:v>752</c:v>
                </c:pt>
                <c:pt idx="47">
                  <c:v>598</c:v>
                </c:pt>
                <c:pt idx="48">
                  <c:v>902</c:v>
                </c:pt>
                <c:pt idx="49">
                  <c:v>17948</c:v>
                </c:pt>
                <c:pt idx="50">
                  <c:v>20980</c:v>
                </c:pt>
                <c:pt idx="51">
                  <c:v>12217</c:v>
                </c:pt>
                <c:pt idx="52">
                  <c:v>9795</c:v>
                </c:pt>
                <c:pt idx="53">
                  <c:v>27154</c:v>
                </c:pt>
                <c:pt idx="54">
                  <c:v>17207</c:v>
                </c:pt>
                <c:pt idx="55">
                  <c:v>9991</c:v>
                </c:pt>
                <c:pt idx="56">
                  <c:v>39016</c:v>
                </c:pt>
                <c:pt idx="57">
                  <c:v>71252</c:v>
                </c:pt>
                <c:pt idx="58">
                  <c:v>75208</c:v>
                </c:pt>
                <c:pt idx="59">
                  <c:v>109719</c:v>
                </c:pt>
                <c:pt idx="60">
                  <c:v>104355</c:v>
                </c:pt>
                <c:pt idx="61">
                  <c:v>96987</c:v>
                </c:pt>
                <c:pt idx="62">
                  <c:v>73503</c:v>
                </c:pt>
                <c:pt idx="63">
                  <c:v>42734</c:v>
                </c:pt>
                <c:pt idx="64">
                  <c:v>41256</c:v>
                </c:pt>
                <c:pt idx="65">
                  <c:v>42551</c:v>
                </c:pt>
                <c:pt idx="66">
                  <c:v>39194</c:v>
                </c:pt>
                <c:pt idx="67">
                  <c:v>35968</c:v>
                </c:pt>
                <c:pt idx="68">
                  <c:v>32936</c:v>
                </c:pt>
                <c:pt idx="69">
                  <c:v>35267</c:v>
                </c:pt>
                <c:pt idx="70">
                  <c:v>34150</c:v>
                </c:pt>
                <c:pt idx="71">
                  <c:v>30481</c:v>
                </c:pt>
                <c:pt idx="72">
                  <c:v>15534</c:v>
                </c:pt>
                <c:pt idx="73">
                  <c:v>419</c:v>
                </c:pt>
                <c:pt idx="74">
                  <c:v>269</c:v>
                </c:pt>
                <c:pt idx="75">
                  <c:v>403</c:v>
                </c:pt>
                <c:pt idx="76">
                  <c:v>1364</c:v>
                </c:pt>
                <c:pt idx="77">
                  <c:v>324</c:v>
                </c:pt>
                <c:pt idx="78">
                  <c:v>478</c:v>
                </c:pt>
                <c:pt idx="79">
                  <c:v>18970</c:v>
                </c:pt>
                <c:pt idx="80">
                  <c:v>35509</c:v>
                </c:pt>
                <c:pt idx="81">
                  <c:v>35614</c:v>
                </c:pt>
                <c:pt idx="82">
                  <c:v>34523</c:v>
                </c:pt>
                <c:pt idx="83">
                  <c:v>10296</c:v>
                </c:pt>
                <c:pt idx="84">
                  <c:v>8547</c:v>
                </c:pt>
                <c:pt idx="85">
                  <c:v>172</c:v>
                </c:pt>
                <c:pt idx="86">
                  <c:v>5721</c:v>
                </c:pt>
                <c:pt idx="87">
                  <c:v>375</c:v>
                </c:pt>
                <c:pt idx="88">
                  <c:v>396</c:v>
                </c:pt>
                <c:pt idx="89">
                  <c:v>288</c:v>
                </c:pt>
                <c:pt idx="90">
                  <c:v>10001</c:v>
                </c:pt>
                <c:pt idx="91">
                  <c:v>21579</c:v>
                </c:pt>
                <c:pt idx="92">
                  <c:v>34615</c:v>
                </c:pt>
                <c:pt idx="93">
                  <c:v>44086</c:v>
                </c:pt>
                <c:pt idx="94">
                  <c:v>20848</c:v>
                </c:pt>
                <c:pt idx="95">
                  <c:v>260</c:v>
                </c:pt>
                <c:pt idx="96">
                  <c:v>401</c:v>
                </c:pt>
                <c:pt idx="97">
                  <c:v>50325</c:v>
                </c:pt>
                <c:pt idx="98">
                  <c:v>158964</c:v>
                </c:pt>
                <c:pt idx="99">
                  <c:v>153082</c:v>
                </c:pt>
                <c:pt idx="100">
                  <c:v>168880</c:v>
                </c:pt>
                <c:pt idx="101">
                  <c:v>171964</c:v>
                </c:pt>
                <c:pt idx="102">
                  <c:v>187098</c:v>
                </c:pt>
                <c:pt idx="103">
                  <c:v>158434</c:v>
                </c:pt>
                <c:pt idx="104">
                  <c:v>164477</c:v>
                </c:pt>
                <c:pt idx="105">
                  <c:v>150502</c:v>
                </c:pt>
                <c:pt idx="106">
                  <c:v>150082</c:v>
                </c:pt>
                <c:pt idx="107">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98324</c:v>
                </c:pt>
                <c:pt idx="1">
                  <c:v>206980</c:v>
                </c:pt>
                <c:pt idx="2">
                  <c:v>210870</c:v>
                </c:pt>
                <c:pt idx="3">
                  <c:v>208312</c:v>
                </c:pt>
                <c:pt idx="4">
                  <c:v>217913</c:v>
                </c:pt>
                <c:pt idx="5">
                  <c:v>208398</c:v>
                </c:pt>
                <c:pt idx="6">
                  <c:v>198649</c:v>
                </c:pt>
                <c:pt idx="7">
                  <c:v>212172</c:v>
                </c:pt>
                <c:pt idx="8">
                  <c:v>224857</c:v>
                </c:pt>
                <c:pt idx="9">
                  <c:v>208601</c:v>
                </c:pt>
                <c:pt idx="10">
                  <c:v>207664</c:v>
                </c:pt>
                <c:pt idx="11">
                  <c:v>207118</c:v>
                </c:pt>
                <c:pt idx="12">
                  <c:v>201372</c:v>
                </c:pt>
                <c:pt idx="13">
                  <c:v>221116</c:v>
                </c:pt>
                <c:pt idx="14">
                  <c:v>194912</c:v>
                </c:pt>
                <c:pt idx="15">
                  <c:v>200841</c:v>
                </c:pt>
                <c:pt idx="16">
                  <c:v>201935</c:v>
                </c:pt>
                <c:pt idx="17">
                  <c:v>225201</c:v>
                </c:pt>
                <c:pt idx="18">
                  <c:v>214142</c:v>
                </c:pt>
                <c:pt idx="19">
                  <c:v>210202</c:v>
                </c:pt>
                <c:pt idx="20">
                  <c:v>228052</c:v>
                </c:pt>
                <c:pt idx="21">
                  <c:v>236326</c:v>
                </c:pt>
                <c:pt idx="22">
                  <c:v>235924</c:v>
                </c:pt>
                <c:pt idx="23">
                  <c:v>227681</c:v>
                </c:pt>
                <c:pt idx="24">
                  <c:v>223439</c:v>
                </c:pt>
                <c:pt idx="25">
                  <c:v>229582</c:v>
                </c:pt>
                <c:pt idx="26">
                  <c:v>237065</c:v>
                </c:pt>
                <c:pt idx="27">
                  <c:v>216983</c:v>
                </c:pt>
                <c:pt idx="28">
                  <c:v>215634</c:v>
                </c:pt>
                <c:pt idx="29">
                  <c:v>216584</c:v>
                </c:pt>
                <c:pt idx="30">
                  <c:v>228684</c:v>
                </c:pt>
                <c:pt idx="31">
                  <c:v>209965</c:v>
                </c:pt>
                <c:pt idx="32">
                  <c:v>215659</c:v>
                </c:pt>
                <c:pt idx="33">
                  <c:v>200475</c:v>
                </c:pt>
                <c:pt idx="34">
                  <c:v>199279</c:v>
                </c:pt>
                <c:pt idx="35">
                  <c:v>213055</c:v>
                </c:pt>
                <c:pt idx="36">
                  <c:v>216248</c:v>
                </c:pt>
                <c:pt idx="37">
                  <c:v>211644</c:v>
                </c:pt>
                <c:pt idx="38">
                  <c:v>206041</c:v>
                </c:pt>
                <c:pt idx="39">
                  <c:v>207307</c:v>
                </c:pt>
                <c:pt idx="40">
                  <c:v>181139</c:v>
                </c:pt>
                <c:pt idx="41">
                  <c:v>175749</c:v>
                </c:pt>
                <c:pt idx="42">
                  <c:v>179873</c:v>
                </c:pt>
                <c:pt idx="43">
                  <c:v>190074</c:v>
                </c:pt>
                <c:pt idx="44">
                  <c:v>207367</c:v>
                </c:pt>
                <c:pt idx="45">
                  <c:v>207046</c:v>
                </c:pt>
                <c:pt idx="46">
                  <c:v>192466</c:v>
                </c:pt>
                <c:pt idx="47">
                  <c:v>200396</c:v>
                </c:pt>
                <c:pt idx="48">
                  <c:v>211523</c:v>
                </c:pt>
                <c:pt idx="49">
                  <c:v>201875</c:v>
                </c:pt>
                <c:pt idx="50">
                  <c:v>210035</c:v>
                </c:pt>
                <c:pt idx="51">
                  <c:v>145809</c:v>
                </c:pt>
                <c:pt idx="52">
                  <c:v>164266</c:v>
                </c:pt>
                <c:pt idx="53">
                  <c:v>152439</c:v>
                </c:pt>
                <c:pt idx="54">
                  <c:v>165187</c:v>
                </c:pt>
                <c:pt idx="55">
                  <c:v>181576</c:v>
                </c:pt>
                <c:pt idx="56">
                  <c:v>159485</c:v>
                </c:pt>
                <c:pt idx="57">
                  <c:v>128490</c:v>
                </c:pt>
                <c:pt idx="58">
                  <c:v>111646</c:v>
                </c:pt>
                <c:pt idx="59">
                  <c:v>104764</c:v>
                </c:pt>
                <c:pt idx="60">
                  <c:v>101216</c:v>
                </c:pt>
                <c:pt idx="61">
                  <c:v>102847</c:v>
                </c:pt>
                <c:pt idx="62">
                  <c:v>116494</c:v>
                </c:pt>
                <c:pt idx="63">
                  <c:v>141978</c:v>
                </c:pt>
                <c:pt idx="64">
                  <c:v>141522</c:v>
                </c:pt>
                <c:pt idx="65">
                  <c:v>143706</c:v>
                </c:pt>
                <c:pt idx="66">
                  <c:v>140213</c:v>
                </c:pt>
                <c:pt idx="67">
                  <c:v>136391</c:v>
                </c:pt>
                <c:pt idx="68">
                  <c:v>137362</c:v>
                </c:pt>
                <c:pt idx="69">
                  <c:v>143832</c:v>
                </c:pt>
                <c:pt idx="70">
                  <c:v>141620</c:v>
                </c:pt>
                <c:pt idx="71">
                  <c:v>136668</c:v>
                </c:pt>
                <c:pt idx="72">
                  <c:v>161515</c:v>
                </c:pt>
                <c:pt idx="73">
                  <c:v>170330</c:v>
                </c:pt>
                <c:pt idx="74">
                  <c:v>180887</c:v>
                </c:pt>
                <c:pt idx="75">
                  <c:v>172424</c:v>
                </c:pt>
                <c:pt idx="76">
                  <c:v>168385</c:v>
                </c:pt>
                <c:pt idx="77">
                  <c:v>169170</c:v>
                </c:pt>
                <c:pt idx="78">
                  <c:v>186720</c:v>
                </c:pt>
                <c:pt idx="79">
                  <c:v>153894</c:v>
                </c:pt>
                <c:pt idx="80">
                  <c:v>145098</c:v>
                </c:pt>
                <c:pt idx="81">
                  <c:v>138655</c:v>
                </c:pt>
                <c:pt idx="82">
                  <c:v>147708</c:v>
                </c:pt>
                <c:pt idx="83">
                  <c:v>166654</c:v>
                </c:pt>
                <c:pt idx="84">
                  <c:v>164718</c:v>
                </c:pt>
                <c:pt idx="85">
                  <c:v>170853</c:v>
                </c:pt>
                <c:pt idx="86">
                  <c:v>163985</c:v>
                </c:pt>
                <c:pt idx="87">
                  <c:v>173548</c:v>
                </c:pt>
                <c:pt idx="88">
                  <c:v>161729</c:v>
                </c:pt>
                <c:pt idx="89">
                  <c:v>163259</c:v>
                </c:pt>
                <c:pt idx="90">
                  <c:v>152044</c:v>
                </c:pt>
                <c:pt idx="91">
                  <c:v>168393</c:v>
                </c:pt>
                <c:pt idx="92">
                  <c:v>138092</c:v>
                </c:pt>
                <c:pt idx="93">
                  <c:v>131591</c:v>
                </c:pt>
                <c:pt idx="94">
                  <c:v>146217</c:v>
                </c:pt>
                <c:pt idx="95">
                  <c:v>163238</c:v>
                </c:pt>
                <c:pt idx="96">
                  <c:v>173658</c:v>
                </c:pt>
                <c:pt idx="97">
                  <c:v>118275</c:v>
                </c:pt>
                <c:pt idx="98">
                  <c:v>3789</c:v>
                </c:pt>
                <c:pt idx="99">
                  <c:v>2660</c:v>
                </c:pt>
                <c:pt idx="100">
                  <c:v>3275</c:v>
                </c:pt>
                <c:pt idx="101">
                  <c:v>2026</c:v>
                </c:pt>
                <c:pt idx="102">
                  <c:v>1351</c:v>
                </c:pt>
                <c:pt idx="103">
                  <c:v>1427</c:v>
                </c:pt>
                <c:pt idx="104">
                  <c:v>2291</c:v>
                </c:pt>
                <c:pt idx="105">
                  <c:v>4092</c:v>
                </c:pt>
                <c:pt idx="106">
                  <c:v>8143</c:v>
                </c:pt>
                <c:pt idx="107">
                  <c:v>1133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27008</c:v>
                </c:pt>
                <c:pt idx="1">
                  <c:v>219840</c:v>
                </c:pt>
                <c:pt idx="2">
                  <c:v>219377</c:v>
                </c:pt>
                <c:pt idx="3">
                  <c:v>213221</c:v>
                </c:pt>
                <c:pt idx="4">
                  <c:v>220763</c:v>
                </c:pt>
                <c:pt idx="5">
                  <c:v>227258</c:v>
                </c:pt>
                <c:pt idx="6">
                  <c:v>224316</c:v>
                </c:pt>
                <c:pt idx="7">
                  <c:v>241580</c:v>
                </c:pt>
                <c:pt idx="8">
                  <c:v>246986</c:v>
                </c:pt>
                <c:pt idx="9">
                  <c:v>231467</c:v>
                </c:pt>
                <c:pt idx="10">
                  <c:v>232852</c:v>
                </c:pt>
                <c:pt idx="11">
                  <c:v>230821</c:v>
                </c:pt>
                <c:pt idx="12">
                  <c:v>222071</c:v>
                </c:pt>
                <c:pt idx="13">
                  <c:v>243016</c:v>
                </c:pt>
                <c:pt idx="14">
                  <c:v>216492</c:v>
                </c:pt>
                <c:pt idx="15">
                  <c:v>228485</c:v>
                </c:pt>
                <c:pt idx="16">
                  <c:v>218571</c:v>
                </c:pt>
                <c:pt idx="17">
                  <c:v>230348</c:v>
                </c:pt>
                <c:pt idx="18">
                  <c:v>214632</c:v>
                </c:pt>
                <c:pt idx="19">
                  <c:v>210471</c:v>
                </c:pt>
                <c:pt idx="20">
                  <c:v>228739</c:v>
                </c:pt>
                <c:pt idx="21">
                  <c:v>236918</c:v>
                </c:pt>
                <c:pt idx="22">
                  <c:v>236358</c:v>
                </c:pt>
                <c:pt idx="23">
                  <c:v>228277</c:v>
                </c:pt>
                <c:pt idx="24">
                  <c:v>224219</c:v>
                </c:pt>
                <c:pt idx="25">
                  <c:v>230164</c:v>
                </c:pt>
                <c:pt idx="26">
                  <c:v>237576</c:v>
                </c:pt>
                <c:pt idx="27">
                  <c:v>234166</c:v>
                </c:pt>
                <c:pt idx="28">
                  <c:v>251042</c:v>
                </c:pt>
                <c:pt idx="29">
                  <c:v>238947</c:v>
                </c:pt>
                <c:pt idx="30">
                  <c:v>255136</c:v>
                </c:pt>
                <c:pt idx="31">
                  <c:v>239880</c:v>
                </c:pt>
                <c:pt idx="32">
                  <c:v>241208</c:v>
                </c:pt>
                <c:pt idx="33">
                  <c:v>232431</c:v>
                </c:pt>
                <c:pt idx="34">
                  <c:v>237698</c:v>
                </c:pt>
                <c:pt idx="35">
                  <c:v>227353</c:v>
                </c:pt>
                <c:pt idx="36">
                  <c:v>217459</c:v>
                </c:pt>
                <c:pt idx="37">
                  <c:v>212081</c:v>
                </c:pt>
                <c:pt idx="38">
                  <c:v>216643</c:v>
                </c:pt>
                <c:pt idx="39">
                  <c:v>227648</c:v>
                </c:pt>
                <c:pt idx="40">
                  <c:v>210317</c:v>
                </c:pt>
                <c:pt idx="41">
                  <c:v>213800</c:v>
                </c:pt>
                <c:pt idx="42">
                  <c:v>210344</c:v>
                </c:pt>
                <c:pt idx="43">
                  <c:v>215413</c:v>
                </c:pt>
                <c:pt idx="44">
                  <c:v>209325</c:v>
                </c:pt>
                <c:pt idx="45">
                  <c:v>207207</c:v>
                </c:pt>
                <c:pt idx="46">
                  <c:v>193218</c:v>
                </c:pt>
                <c:pt idx="47">
                  <c:v>200994</c:v>
                </c:pt>
                <c:pt idx="48">
                  <c:v>212425</c:v>
                </c:pt>
                <c:pt idx="49">
                  <c:v>219823</c:v>
                </c:pt>
                <c:pt idx="50">
                  <c:v>231015</c:v>
                </c:pt>
                <c:pt idx="51">
                  <c:v>158026</c:v>
                </c:pt>
                <c:pt idx="52">
                  <c:v>174061</c:v>
                </c:pt>
                <c:pt idx="53">
                  <c:v>179593</c:v>
                </c:pt>
                <c:pt idx="54">
                  <c:v>182394</c:v>
                </c:pt>
                <c:pt idx="55">
                  <c:v>191567</c:v>
                </c:pt>
                <c:pt idx="56">
                  <c:v>198501</c:v>
                </c:pt>
                <c:pt idx="57">
                  <c:v>199742</c:v>
                </c:pt>
                <c:pt idx="58">
                  <c:v>186854</c:v>
                </c:pt>
                <c:pt idx="59">
                  <c:v>214483</c:v>
                </c:pt>
                <c:pt idx="60">
                  <c:v>205571</c:v>
                </c:pt>
                <c:pt idx="61">
                  <c:v>199834</c:v>
                </c:pt>
                <c:pt idx="62">
                  <c:v>189997</c:v>
                </c:pt>
                <c:pt idx="63">
                  <c:v>184712</c:v>
                </c:pt>
                <c:pt idx="64">
                  <c:v>182778</c:v>
                </c:pt>
                <c:pt idx="65">
                  <c:v>186257</c:v>
                </c:pt>
                <c:pt idx="66">
                  <c:v>179407</c:v>
                </c:pt>
                <c:pt idx="67">
                  <c:v>172359</c:v>
                </c:pt>
                <c:pt idx="68">
                  <c:v>170298</c:v>
                </c:pt>
                <c:pt idx="69">
                  <c:v>179099</c:v>
                </c:pt>
                <c:pt idx="70">
                  <c:v>175770</c:v>
                </c:pt>
                <c:pt idx="71">
                  <c:v>167149</c:v>
                </c:pt>
                <c:pt idx="72">
                  <c:v>177049</c:v>
                </c:pt>
                <c:pt idx="73">
                  <c:v>170749</c:v>
                </c:pt>
                <c:pt idx="74">
                  <c:v>181156</c:v>
                </c:pt>
                <c:pt idx="75">
                  <c:v>172827</c:v>
                </c:pt>
                <c:pt idx="76">
                  <c:v>169749</c:v>
                </c:pt>
                <c:pt idx="77">
                  <c:v>169494</c:v>
                </c:pt>
                <c:pt idx="78">
                  <c:v>187198</c:v>
                </c:pt>
                <c:pt idx="79">
                  <c:v>172864</c:v>
                </c:pt>
                <c:pt idx="80">
                  <c:v>180607</c:v>
                </c:pt>
                <c:pt idx="81">
                  <c:v>174269</c:v>
                </c:pt>
                <c:pt idx="82">
                  <c:v>182231</c:v>
                </c:pt>
                <c:pt idx="83">
                  <c:v>176950</c:v>
                </c:pt>
                <c:pt idx="84">
                  <c:v>173265</c:v>
                </c:pt>
                <c:pt idx="85">
                  <c:v>171025</c:v>
                </c:pt>
                <c:pt idx="86">
                  <c:v>169706</c:v>
                </c:pt>
                <c:pt idx="87">
                  <c:v>173923</c:v>
                </c:pt>
                <c:pt idx="88">
                  <c:v>162125</c:v>
                </c:pt>
                <c:pt idx="89">
                  <c:v>163547</c:v>
                </c:pt>
                <c:pt idx="90">
                  <c:v>162045</c:v>
                </c:pt>
                <c:pt idx="91">
                  <c:v>189972</c:v>
                </c:pt>
                <c:pt idx="92">
                  <c:v>172707</c:v>
                </c:pt>
                <c:pt idx="93">
                  <c:v>175677</c:v>
                </c:pt>
                <c:pt idx="94">
                  <c:v>167065</c:v>
                </c:pt>
                <c:pt idx="95">
                  <c:v>163498</c:v>
                </c:pt>
                <c:pt idx="96">
                  <c:v>174059</c:v>
                </c:pt>
                <c:pt idx="97">
                  <c:v>168600</c:v>
                </c:pt>
                <c:pt idx="98">
                  <c:v>162753</c:v>
                </c:pt>
                <c:pt idx="99">
                  <c:v>155742</c:v>
                </c:pt>
                <c:pt idx="100">
                  <c:v>172155</c:v>
                </c:pt>
                <c:pt idx="101">
                  <c:v>173990</c:v>
                </c:pt>
                <c:pt idx="102">
                  <c:v>188449</c:v>
                </c:pt>
                <c:pt idx="103">
                  <c:v>159861</c:v>
                </c:pt>
                <c:pt idx="104">
                  <c:v>166768</c:v>
                </c:pt>
                <c:pt idx="105">
                  <c:v>154594</c:v>
                </c:pt>
                <c:pt idx="106">
                  <c:v>158225</c:v>
                </c:pt>
                <c:pt idx="107">
                  <c:v>14641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09801</c:v>
                </c:pt>
                <c:pt idx="1">
                  <c:v>211903</c:v>
                </c:pt>
                <c:pt idx="2">
                  <c:v>214538</c:v>
                </c:pt>
                <c:pt idx="3">
                  <c:v>215100</c:v>
                </c:pt>
                <c:pt idx="4">
                  <c:v>216470</c:v>
                </c:pt>
                <c:pt idx="5">
                  <c:v>219762</c:v>
                </c:pt>
                <c:pt idx="6">
                  <c:v>225752</c:v>
                </c:pt>
                <c:pt idx="7">
                  <c:v>235517</c:v>
                </c:pt>
                <c:pt idx="8">
                  <c:v>236890</c:v>
                </c:pt>
                <c:pt idx="9">
                  <c:v>235671</c:v>
                </c:pt>
                <c:pt idx="10">
                  <c:v>234028</c:v>
                </c:pt>
                <c:pt idx="11">
                  <c:v>232527</c:v>
                </c:pt>
                <c:pt idx="12">
                  <c:v>230997</c:v>
                </c:pt>
                <c:pt idx="13">
                  <c:v>228527</c:v>
                </c:pt>
                <c:pt idx="14">
                  <c:v>227728</c:v>
                </c:pt>
                <c:pt idx="15">
                  <c:v>225354</c:v>
                </c:pt>
                <c:pt idx="16">
                  <c:v>222719</c:v>
                </c:pt>
                <c:pt idx="17">
                  <c:v>223808</c:v>
                </c:pt>
                <c:pt idx="18">
                  <c:v>223067</c:v>
                </c:pt>
                <c:pt idx="19">
                  <c:v>225609</c:v>
                </c:pt>
                <c:pt idx="20">
                  <c:v>225935</c:v>
                </c:pt>
                <c:pt idx="21">
                  <c:v>226622</c:v>
                </c:pt>
                <c:pt idx="22">
                  <c:v>226674</c:v>
                </c:pt>
                <c:pt idx="23">
                  <c:v>229496</c:v>
                </c:pt>
                <c:pt idx="24">
                  <c:v>232202</c:v>
                </c:pt>
                <c:pt idx="25">
                  <c:v>234703</c:v>
                </c:pt>
                <c:pt idx="26">
                  <c:v>234719</c:v>
                </c:pt>
                <c:pt idx="27">
                  <c:v>236776</c:v>
                </c:pt>
                <c:pt idx="28">
                  <c:v>238214</c:v>
                </c:pt>
                <c:pt idx="29">
                  <c:v>239822</c:v>
                </c:pt>
                <c:pt idx="30">
                  <c:v>240645</c:v>
                </c:pt>
                <c:pt idx="31">
                  <c:v>239913</c:v>
                </c:pt>
                <c:pt idx="32">
                  <c:v>239674</c:v>
                </c:pt>
                <c:pt idx="33">
                  <c:v>234792</c:v>
                </c:pt>
                <c:pt idx="34">
                  <c:v>231689</c:v>
                </c:pt>
                <c:pt idx="35">
                  <c:v>227340</c:v>
                </c:pt>
                <c:pt idx="36">
                  <c:v>226011</c:v>
                </c:pt>
                <c:pt idx="37">
                  <c:v>222262</c:v>
                </c:pt>
                <c:pt idx="38">
                  <c:v>220006</c:v>
                </c:pt>
                <c:pt idx="39">
                  <c:v>217082</c:v>
                </c:pt>
                <c:pt idx="40">
                  <c:v>215375</c:v>
                </c:pt>
                <c:pt idx="41">
                  <c:v>214119</c:v>
                </c:pt>
                <c:pt idx="42">
                  <c:v>212967</c:v>
                </c:pt>
                <c:pt idx="43">
                  <c:v>210468</c:v>
                </c:pt>
                <c:pt idx="44">
                  <c:v>207626</c:v>
                </c:pt>
                <c:pt idx="45">
                  <c:v>207873</c:v>
                </c:pt>
                <c:pt idx="46">
                  <c:v>209570</c:v>
                </c:pt>
                <c:pt idx="47">
                  <c:v>213257</c:v>
                </c:pt>
                <c:pt idx="48">
                  <c:v>207194</c:v>
                </c:pt>
                <c:pt idx="49">
                  <c:v>201116</c:v>
                </c:pt>
                <c:pt idx="50">
                  <c:v>195364</c:v>
                </c:pt>
                <c:pt idx="51">
                  <c:v>223487</c:v>
                </c:pt>
                <c:pt idx="52">
                  <c:v>223150</c:v>
                </c:pt>
                <c:pt idx="53">
                  <c:v>212482</c:v>
                </c:pt>
                <c:pt idx="54">
                  <c:v>196810</c:v>
                </c:pt>
                <c:pt idx="55">
                  <c:v>182893</c:v>
                </c:pt>
                <c:pt idx="56">
                  <c:v>186390</c:v>
                </c:pt>
                <c:pt idx="57">
                  <c:v>199501</c:v>
                </c:pt>
                <c:pt idx="58">
                  <c:v>196815</c:v>
                </c:pt>
                <c:pt idx="59">
                  <c:v>198365</c:v>
                </c:pt>
                <c:pt idx="60">
                  <c:v>201930</c:v>
                </c:pt>
                <c:pt idx="61">
                  <c:v>198686</c:v>
                </c:pt>
                <c:pt idx="62">
                  <c:v>197152</c:v>
                </c:pt>
                <c:pt idx="63">
                  <c:v>194624</c:v>
                </c:pt>
                <c:pt idx="64">
                  <c:v>191141</c:v>
                </c:pt>
                <c:pt idx="65">
                  <c:v>188777</c:v>
                </c:pt>
                <c:pt idx="66">
                  <c:v>187327</c:v>
                </c:pt>
                <c:pt idx="67">
                  <c:v>181421</c:v>
                </c:pt>
                <c:pt idx="68">
                  <c:v>175801</c:v>
                </c:pt>
                <c:pt idx="69">
                  <c:v>175873</c:v>
                </c:pt>
                <c:pt idx="70">
                  <c:v>173786</c:v>
                </c:pt>
                <c:pt idx="71">
                  <c:v>173278</c:v>
                </c:pt>
                <c:pt idx="72">
                  <c:v>174285</c:v>
                </c:pt>
                <c:pt idx="73">
                  <c:v>174095</c:v>
                </c:pt>
                <c:pt idx="74">
                  <c:v>172892</c:v>
                </c:pt>
                <c:pt idx="75">
                  <c:v>174470</c:v>
                </c:pt>
                <c:pt idx="76">
                  <c:v>175055</c:v>
                </c:pt>
                <c:pt idx="77">
                  <c:v>175713</c:v>
                </c:pt>
                <c:pt idx="78">
                  <c:v>176135</c:v>
                </c:pt>
                <c:pt idx="79">
                  <c:v>175720</c:v>
                </c:pt>
                <c:pt idx="80">
                  <c:v>176405</c:v>
                </c:pt>
                <c:pt idx="81">
                  <c:v>176838</c:v>
                </c:pt>
                <c:pt idx="82">
                  <c:v>177859</c:v>
                </c:pt>
                <c:pt idx="83">
                  <c:v>175065</c:v>
                </c:pt>
                <c:pt idx="84">
                  <c:v>175129</c:v>
                </c:pt>
                <c:pt idx="85">
                  <c:v>173092</c:v>
                </c:pt>
                <c:pt idx="86">
                  <c:v>171713</c:v>
                </c:pt>
                <c:pt idx="87">
                  <c:v>169300</c:v>
                </c:pt>
                <c:pt idx="88">
                  <c:v>170735</c:v>
                </c:pt>
                <c:pt idx="89">
                  <c:v>170488</c:v>
                </c:pt>
                <c:pt idx="90">
                  <c:v>170853</c:v>
                </c:pt>
                <c:pt idx="91">
                  <c:v>170728</c:v>
                </c:pt>
                <c:pt idx="92">
                  <c:v>169035</c:v>
                </c:pt>
                <c:pt idx="93">
                  <c:v>170843</c:v>
                </c:pt>
                <c:pt idx="94">
                  <c:v>171504</c:v>
                </c:pt>
                <c:pt idx="95">
                  <c:v>172714</c:v>
                </c:pt>
                <c:pt idx="96">
                  <c:v>170140</c:v>
                </c:pt>
                <c:pt idx="97">
                  <c:v>170072</c:v>
                </c:pt>
                <c:pt idx="98">
                  <c:v>169008</c:v>
                </c:pt>
                <c:pt idx="99">
                  <c:v>168299</c:v>
                </c:pt>
                <c:pt idx="100">
                  <c:v>174720</c:v>
                </c:pt>
                <c:pt idx="101">
                  <c:v>175031</c:v>
                </c:pt>
                <c:pt idx="102">
                  <c:v>175497</c:v>
                </c:pt>
                <c:pt idx="103">
                  <c:v>172819</c:v>
                </c:pt>
                <c:pt idx="104">
                  <c:v>176361</c:v>
                </c:pt>
                <c:pt idx="105">
                  <c:v>168913</c:v>
                </c:pt>
                <c:pt idx="106">
                  <c:v>176913</c:v>
                </c:pt>
                <c:pt idx="107">
                  <c:v>16284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7</c:v>
                </c:pt>
                <c:pt idx="1">
                  <c:v>0.09</c:v>
                </c:pt>
                <c:pt idx="2">
                  <c:v>0.06</c:v>
                </c:pt>
                <c:pt idx="3">
                  <c:v>0.04</c:v>
                </c:pt>
                <c:pt idx="4">
                  <c:v>0.02</c:v>
                </c:pt>
                <c:pt idx="5">
                  <c:v>0.12</c:v>
                </c:pt>
                <c:pt idx="6">
                  <c:v>0.15</c:v>
                </c:pt>
                <c:pt idx="7">
                  <c:v>0.16</c:v>
                </c:pt>
                <c:pt idx="8">
                  <c:v>0.12</c:v>
                </c:pt>
                <c:pt idx="9">
                  <c:v>0.12</c:v>
                </c:pt>
                <c:pt idx="10">
                  <c:v>0.13</c:v>
                </c:pt>
                <c:pt idx="11">
                  <c:v>0.12</c:v>
                </c:pt>
                <c:pt idx="12">
                  <c:v>0.11</c:v>
                </c:pt>
                <c:pt idx="13">
                  <c:v>0.1</c:v>
                </c:pt>
                <c:pt idx="14">
                  <c:v>0.11</c:v>
                </c:pt>
                <c:pt idx="15">
                  <c:v>0.13</c:v>
                </c:pt>
                <c:pt idx="16">
                  <c:v>0.1</c:v>
                </c:pt>
                <c:pt idx="17">
                  <c:v>0.02</c:v>
                </c:pt>
                <c:pt idx="18">
                  <c:v>0</c:v>
                </c:pt>
                <c:pt idx="19">
                  <c:v>0</c:v>
                </c:pt>
                <c:pt idx="20">
                  <c:v>0</c:v>
                </c:pt>
                <c:pt idx="21">
                  <c:v>0</c:v>
                </c:pt>
                <c:pt idx="22">
                  <c:v>0</c:v>
                </c:pt>
                <c:pt idx="23">
                  <c:v>0.01</c:v>
                </c:pt>
                <c:pt idx="24">
                  <c:v>0</c:v>
                </c:pt>
                <c:pt idx="25">
                  <c:v>0</c:v>
                </c:pt>
                <c:pt idx="26">
                  <c:v>0</c:v>
                </c:pt>
                <c:pt idx="27">
                  <c:v>0.08</c:v>
                </c:pt>
                <c:pt idx="28">
                  <c:v>0.16</c:v>
                </c:pt>
                <c:pt idx="29">
                  <c:v>0.15</c:v>
                </c:pt>
                <c:pt idx="30">
                  <c:v>0.14000000000000001</c:v>
                </c:pt>
                <c:pt idx="31">
                  <c:v>0.14000000000000001</c:v>
                </c:pt>
                <c:pt idx="32">
                  <c:v>0.13</c:v>
                </c:pt>
                <c:pt idx="33">
                  <c:v>0.15</c:v>
                </c:pt>
                <c:pt idx="34">
                  <c:v>0.17</c:v>
                </c:pt>
                <c:pt idx="35">
                  <c:v>7.0000000000000007E-2</c:v>
                </c:pt>
                <c:pt idx="36">
                  <c:v>0.01</c:v>
                </c:pt>
                <c:pt idx="37">
                  <c:v>0</c:v>
                </c:pt>
                <c:pt idx="38">
                  <c:v>7.0000000000000007E-2</c:v>
                </c:pt>
                <c:pt idx="39">
                  <c:v>0.11</c:v>
                </c:pt>
                <c:pt idx="40">
                  <c:v>0.17</c:v>
                </c:pt>
                <c:pt idx="41">
                  <c:v>0.2</c:v>
                </c:pt>
                <c:pt idx="42">
                  <c:v>0.18</c:v>
                </c:pt>
                <c:pt idx="43">
                  <c:v>0.13</c:v>
                </c:pt>
                <c:pt idx="44">
                  <c:v>0.01</c:v>
                </c:pt>
                <c:pt idx="45">
                  <c:v>0</c:v>
                </c:pt>
                <c:pt idx="46">
                  <c:v>0</c:v>
                </c:pt>
                <c:pt idx="47">
                  <c:v>0</c:v>
                </c:pt>
                <c:pt idx="48">
                  <c:v>0</c:v>
                </c:pt>
                <c:pt idx="49">
                  <c:v>0.13</c:v>
                </c:pt>
                <c:pt idx="50">
                  <c:v>0.15</c:v>
                </c:pt>
                <c:pt idx="51">
                  <c:v>0.12</c:v>
                </c:pt>
                <c:pt idx="52">
                  <c:v>0.08</c:v>
                </c:pt>
                <c:pt idx="53">
                  <c:v>0.24</c:v>
                </c:pt>
                <c:pt idx="54">
                  <c:v>0.19</c:v>
                </c:pt>
                <c:pt idx="55">
                  <c:v>0.11</c:v>
                </c:pt>
                <c:pt idx="56">
                  <c:v>0.23</c:v>
                </c:pt>
                <c:pt idx="57">
                  <c:v>0.39</c:v>
                </c:pt>
                <c:pt idx="58">
                  <c:v>0.43</c:v>
                </c:pt>
                <c:pt idx="59">
                  <c:v>0.53</c:v>
                </c:pt>
                <c:pt idx="60">
                  <c:v>0.53</c:v>
                </c:pt>
                <c:pt idx="61">
                  <c:v>0.5</c:v>
                </c:pt>
                <c:pt idx="62">
                  <c:v>0.4</c:v>
                </c:pt>
                <c:pt idx="63">
                  <c:v>0.23</c:v>
                </c:pt>
                <c:pt idx="64">
                  <c:v>0.23</c:v>
                </c:pt>
                <c:pt idx="65">
                  <c:v>0.23</c:v>
                </c:pt>
                <c:pt idx="66">
                  <c:v>0.22</c:v>
                </c:pt>
                <c:pt idx="67">
                  <c:v>0.21</c:v>
                </c:pt>
                <c:pt idx="68">
                  <c:v>0.19</c:v>
                </c:pt>
                <c:pt idx="69">
                  <c:v>0.2</c:v>
                </c:pt>
                <c:pt idx="70">
                  <c:v>0.2</c:v>
                </c:pt>
                <c:pt idx="71">
                  <c:v>0.19</c:v>
                </c:pt>
                <c:pt idx="72">
                  <c:v>0.09</c:v>
                </c:pt>
                <c:pt idx="73">
                  <c:v>0</c:v>
                </c:pt>
                <c:pt idx="74">
                  <c:v>0</c:v>
                </c:pt>
                <c:pt idx="75">
                  <c:v>0</c:v>
                </c:pt>
                <c:pt idx="76">
                  <c:v>0.01</c:v>
                </c:pt>
                <c:pt idx="77">
                  <c:v>0</c:v>
                </c:pt>
                <c:pt idx="78">
                  <c:v>0</c:v>
                </c:pt>
                <c:pt idx="79">
                  <c:v>0.12</c:v>
                </c:pt>
                <c:pt idx="80">
                  <c:v>0.21</c:v>
                </c:pt>
                <c:pt idx="81">
                  <c:v>0.22</c:v>
                </c:pt>
                <c:pt idx="82">
                  <c:v>0.19</c:v>
                </c:pt>
                <c:pt idx="83">
                  <c:v>0.06</c:v>
                </c:pt>
                <c:pt idx="84">
                  <c:v>0.05</c:v>
                </c:pt>
                <c:pt idx="85">
                  <c:v>0</c:v>
                </c:pt>
                <c:pt idx="86">
                  <c:v>0.03</c:v>
                </c:pt>
                <c:pt idx="87">
                  <c:v>0</c:v>
                </c:pt>
                <c:pt idx="88">
                  <c:v>0</c:v>
                </c:pt>
                <c:pt idx="89">
                  <c:v>0</c:v>
                </c:pt>
                <c:pt idx="90">
                  <c:v>7.0000000000000007E-2</c:v>
                </c:pt>
                <c:pt idx="91">
                  <c:v>0.12</c:v>
                </c:pt>
                <c:pt idx="92">
                  <c:v>0.23</c:v>
                </c:pt>
                <c:pt idx="93">
                  <c:v>0.26</c:v>
                </c:pt>
                <c:pt idx="94">
                  <c:v>0.13</c:v>
                </c:pt>
                <c:pt idx="95">
                  <c:v>0</c:v>
                </c:pt>
                <c:pt idx="96">
                  <c:v>0</c:v>
                </c:pt>
                <c:pt idx="97">
                  <c:v>0.32</c:v>
                </c:pt>
                <c:pt idx="98">
                  <c:v>0.97</c:v>
                </c:pt>
                <c:pt idx="99">
                  <c:v>0.98</c:v>
                </c:pt>
                <c:pt idx="100">
                  <c:v>0.98</c:v>
                </c:pt>
                <c:pt idx="101">
                  <c:v>0.99</c:v>
                </c:pt>
                <c:pt idx="102">
                  <c:v>0.99</c:v>
                </c:pt>
                <c:pt idx="103">
                  <c:v>0.99</c:v>
                </c:pt>
                <c:pt idx="104">
                  <c:v>0.99</c:v>
                </c:pt>
                <c:pt idx="105">
                  <c:v>0.97</c:v>
                </c:pt>
                <c:pt idx="106">
                  <c:v>0.95</c:v>
                </c:pt>
                <c:pt idx="107">
                  <c:v>0.93</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28597</c:v>
                </c:pt>
                <c:pt idx="1">
                  <c:v>12860</c:v>
                </c:pt>
                <c:pt idx="2">
                  <c:v>8507</c:v>
                </c:pt>
                <c:pt idx="3">
                  <c:v>4896</c:v>
                </c:pt>
                <c:pt idx="4">
                  <c:v>2850</c:v>
                </c:pt>
                <c:pt idx="5">
                  <c:v>18740</c:v>
                </c:pt>
                <c:pt idx="6">
                  <c:v>25415</c:v>
                </c:pt>
                <c:pt idx="7">
                  <c:v>29182</c:v>
                </c:pt>
                <c:pt idx="8">
                  <c:v>22078</c:v>
                </c:pt>
                <c:pt idx="9">
                  <c:v>22795</c:v>
                </c:pt>
                <c:pt idx="10">
                  <c:v>24998</c:v>
                </c:pt>
                <c:pt idx="11">
                  <c:v>23510</c:v>
                </c:pt>
                <c:pt idx="12">
                  <c:v>20562</c:v>
                </c:pt>
                <c:pt idx="13">
                  <c:v>21732</c:v>
                </c:pt>
                <c:pt idx="14">
                  <c:v>21427</c:v>
                </c:pt>
                <c:pt idx="15">
                  <c:v>27481</c:v>
                </c:pt>
                <c:pt idx="16">
                  <c:v>16488</c:v>
                </c:pt>
                <c:pt idx="17">
                  <c:v>4916</c:v>
                </c:pt>
                <c:pt idx="18">
                  <c:v>313</c:v>
                </c:pt>
                <c:pt idx="19">
                  <c:v>122</c:v>
                </c:pt>
                <c:pt idx="20">
                  <c:v>381</c:v>
                </c:pt>
                <c:pt idx="21">
                  <c:v>432</c:v>
                </c:pt>
                <c:pt idx="22">
                  <c:v>136</c:v>
                </c:pt>
                <c:pt idx="23">
                  <c:v>331</c:v>
                </c:pt>
                <c:pt idx="24">
                  <c:v>676</c:v>
                </c:pt>
                <c:pt idx="25">
                  <c:v>314</c:v>
                </c:pt>
                <c:pt idx="26">
                  <c:v>74</c:v>
                </c:pt>
                <c:pt idx="27">
                  <c:v>16990</c:v>
                </c:pt>
                <c:pt idx="28">
                  <c:v>35191</c:v>
                </c:pt>
                <c:pt idx="29">
                  <c:v>22234</c:v>
                </c:pt>
                <c:pt idx="30">
                  <c:v>26316</c:v>
                </c:pt>
                <c:pt idx="31">
                  <c:v>29699</c:v>
                </c:pt>
                <c:pt idx="32">
                  <c:v>25323</c:v>
                </c:pt>
                <c:pt idx="33">
                  <c:v>31853</c:v>
                </c:pt>
                <c:pt idx="34">
                  <c:v>38282</c:v>
                </c:pt>
                <c:pt idx="35">
                  <c:v>14253</c:v>
                </c:pt>
                <c:pt idx="36">
                  <c:v>962</c:v>
                </c:pt>
                <c:pt idx="37">
                  <c:v>266</c:v>
                </c:pt>
                <c:pt idx="38">
                  <c:v>10432</c:v>
                </c:pt>
                <c:pt idx="39">
                  <c:v>20047</c:v>
                </c:pt>
                <c:pt idx="40">
                  <c:v>28941</c:v>
                </c:pt>
                <c:pt idx="41">
                  <c:v>37909</c:v>
                </c:pt>
                <c:pt idx="42">
                  <c:v>30231</c:v>
                </c:pt>
                <c:pt idx="43">
                  <c:v>25331</c:v>
                </c:pt>
                <c:pt idx="44">
                  <c:v>1958</c:v>
                </c:pt>
                <c:pt idx="45">
                  <c:v>127</c:v>
                </c:pt>
                <c:pt idx="46">
                  <c:v>752</c:v>
                </c:pt>
                <c:pt idx="47">
                  <c:v>598</c:v>
                </c:pt>
                <c:pt idx="48">
                  <c:v>902</c:v>
                </c:pt>
                <c:pt idx="49">
                  <c:v>15550</c:v>
                </c:pt>
                <c:pt idx="50">
                  <c:v>16347</c:v>
                </c:pt>
                <c:pt idx="51">
                  <c:v>8766</c:v>
                </c:pt>
                <c:pt idx="52">
                  <c:v>6839</c:v>
                </c:pt>
                <c:pt idx="53">
                  <c:v>21150</c:v>
                </c:pt>
                <c:pt idx="54">
                  <c:v>12515</c:v>
                </c:pt>
                <c:pt idx="55">
                  <c:v>6282</c:v>
                </c:pt>
                <c:pt idx="56">
                  <c:v>37420</c:v>
                </c:pt>
                <c:pt idx="57">
                  <c:v>70149</c:v>
                </c:pt>
                <c:pt idx="58">
                  <c:v>74639</c:v>
                </c:pt>
                <c:pt idx="59">
                  <c:v>109179</c:v>
                </c:pt>
                <c:pt idx="60">
                  <c:v>103880</c:v>
                </c:pt>
                <c:pt idx="61">
                  <c:v>96851</c:v>
                </c:pt>
                <c:pt idx="62">
                  <c:v>73370</c:v>
                </c:pt>
                <c:pt idx="63">
                  <c:v>42596</c:v>
                </c:pt>
                <c:pt idx="64">
                  <c:v>41190</c:v>
                </c:pt>
                <c:pt idx="65">
                  <c:v>42541</c:v>
                </c:pt>
                <c:pt idx="66">
                  <c:v>39167</c:v>
                </c:pt>
                <c:pt idx="67">
                  <c:v>35945</c:v>
                </c:pt>
                <c:pt idx="68">
                  <c:v>32895</c:v>
                </c:pt>
                <c:pt idx="69">
                  <c:v>35262</c:v>
                </c:pt>
                <c:pt idx="70">
                  <c:v>34147</c:v>
                </c:pt>
                <c:pt idx="71">
                  <c:v>30459</c:v>
                </c:pt>
                <c:pt idx="72">
                  <c:v>15468</c:v>
                </c:pt>
                <c:pt idx="73">
                  <c:v>419</c:v>
                </c:pt>
                <c:pt idx="74">
                  <c:v>269</c:v>
                </c:pt>
                <c:pt idx="75">
                  <c:v>365</c:v>
                </c:pt>
                <c:pt idx="76">
                  <c:v>1356</c:v>
                </c:pt>
                <c:pt idx="77">
                  <c:v>312</c:v>
                </c:pt>
                <c:pt idx="78">
                  <c:v>443</c:v>
                </c:pt>
                <c:pt idx="79">
                  <c:v>18918</c:v>
                </c:pt>
                <c:pt idx="80">
                  <c:v>35479</c:v>
                </c:pt>
                <c:pt idx="81">
                  <c:v>35606</c:v>
                </c:pt>
                <c:pt idx="82">
                  <c:v>34517</c:v>
                </c:pt>
                <c:pt idx="83">
                  <c:v>10292</c:v>
                </c:pt>
                <c:pt idx="84">
                  <c:v>8547</c:v>
                </c:pt>
                <c:pt idx="85">
                  <c:v>172</c:v>
                </c:pt>
                <c:pt idx="86">
                  <c:v>5721</c:v>
                </c:pt>
                <c:pt idx="87">
                  <c:v>375</c:v>
                </c:pt>
                <c:pt idx="88">
                  <c:v>396</c:v>
                </c:pt>
                <c:pt idx="89">
                  <c:v>288</c:v>
                </c:pt>
                <c:pt idx="90">
                  <c:v>9982</c:v>
                </c:pt>
                <c:pt idx="91">
                  <c:v>21579</c:v>
                </c:pt>
                <c:pt idx="92">
                  <c:v>34603</c:v>
                </c:pt>
                <c:pt idx="93">
                  <c:v>44083</c:v>
                </c:pt>
                <c:pt idx="94">
                  <c:v>20833</c:v>
                </c:pt>
                <c:pt idx="95">
                  <c:v>260</c:v>
                </c:pt>
                <c:pt idx="96">
                  <c:v>391</c:v>
                </c:pt>
                <c:pt idx="97">
                  <c:v>50325</c:v>
                </c:pt>
                <c:pt idx="98">
                  <c:v>158964</c:v>
                </c:pt>
                <c:pt idx="99">
                  <c:v>153082</c:v>
                </c:pt>
                <c:pt idx="100">
                  <c:v>168880</c:v>
                </c:pt>
                <c:pt idx="101">
                  <c:v>171953</c:v>
                </c:pt>
                <c:pt idx="102">
                  <c:v>187092</c:v>
                </c:pt>
                <c:pt idx="103">
                  <c:v>158434</c:v>
                </c:pt>
                <c:pt idx="104">
                  <c:v>164477</c:v>
                </c:pt>
                <c:pt idx="105">
                  <c:v>150502</c:v>
                </c:pt>
                <c:pt idx="106">
                  <c:v>150072</c:v>
                </c:pt>
                <c:pt idx="107">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98031</c:v>
                </c:pt>
                <c:pt idx="1">
                  <c:v>205646</c:v>
                </c:pt>
                <c:pt idx="2">
                  <c:v>209691</c:v>
                </c:pt>
                <c:pt idx="3">
                  <c:v>206706</c:v>
                </c:pt>
                <c:pt idx="4">
                  <c:v>216150</c:v>
                </c:pt>
                <c:pt idx="5">
                  <c:v>205988</c:v>
                </c:pt>
                <c:pt idx="6">
                  <c:v>196407</c:v>
                </c:pt>
                <c:pt idx="7">
                  <c:v>209682</c:v>
                </c:pt>
                <c:pt idx="8">
                  <c:v>221892</c:v>
                </c:pt>
                <c:pt idx="9">
                  <c:v>205720</c:v>
                </c:pt>
                <c:pt idx="10">
                  <c:v>204827</c:v>
                </c:pt>
                <c:pt idx="11">
                  <c:v>204380</c:v>
                </c:pt>
                <c:pt idx="12">
                  <c:v>198445</c:v>
                </c:pt>
                <c:pt idx="13">
                  <c:v>217665</c:v>
                </c:pt>
                <c:pt idx="14">
                  <c:v>191043</c:v>
                </c:pt>
                <c:pt idx="15">
                  <c:v>197283</c:v>
                </c:pt>
                <c:pt idx="16">
                  <c:v>198011</c:v>
                </c:pt>
                <c:pt idx="17">
                  <c:v>221056</c:v>
                </c:pt>
                <c:pt idx="18">
                  <c:v>210415</c:v>
                </c:pt>
                <c:pt idx="19">
                  <c:v>206849</c:v>
                </c:pt>
                <c:pt idx="20">
                  <c:v>224009</c:v>
                </c:pt>
                <c:pt idx="21">
                  <c:v>231998</c:v>
                </c:pt>
                <c:pt idx="22">
                  <c:v>231381</c:v>
                </c:pt>
                <c:pt idx="23">
                  <c:v>223325</c:v>
                </c:pt>
                <c:pt idx="24">
                  <c:v>218656</c:v>
                </c:pt>
                <c:pt idx="25">
                  <c:v>225073</c:v>
                </c:pt>
                <c:pt idx="26">
                  <c:v>232443</c:v>
                </c:pt>
                <c:pt idx="27">
                  <c:v>212106</c:v>
                </c:pt>
                <c:pt idx="28">
                  <c:v>210668</c:v>
                </c:pt>
                <c:pt idx="29">
                  <c:v>211529</c:v>
                </c:pt>
                <c:pt idx="30">
                  <c:v>223533</c:v>
                </c:pt>
                <c:pt idx="31">
                  <c:v>204763</c:v>
                </c:pt>
                <c:pt idx="32">
                  <c:v>209921</c:v>
                </c:pt>
                <c:pt idx="33">
                  <c:v>195135</c:v>
                </c:pt>
                <c:pt idx="34">
                  <c:v>194172</c:v>
                </c:pt>
                <c:pt idx="35">
                  <c:v>208065</c:v>
                </c:pt>
                <c:pt idx="36">
                  <c:v>210916</c:v>
                </c:pt>
                <c:pt idx="37">
                  <c:v>206578</c:v>
                </c:pt>
                <c:pt idx="38">
                  <c:v>200877</c:v>
                </c:pt>
                <c:pt idx="39">
                  <c:v>201782</c:v>
                </c:pt>
                <c:pt idx="40">
                  <c:v>175444</c:v>
                </c:pt>
                <c:pt idx="41">
                  <c:v>170068</c:v>
                </c:pt>
                <c:pt idx="42">
                  <c:v>174841</c:v>
                </c:pt>
                <c:pt idx="43">
                  <c:v>184235</c:v>
                </c:pt>
                <c:pt idx="44">
                  <c:v>201502</c:v>
                </c:pt>
                <c:pt idx="45">
                  <c:v>201322</c:v>
                </c:pt>
                <c:pt idx="46">
                  <c:v>187375</c:v>
                </c:pt>
                <c:pt idx="47">
                  <c:v>195003</c:v>
                </c:pt>
                <c:pt idx="48">
                  <c:v>205928</c:v>
                </c:pt>
                <c:pt idx="49">
                  <c:v>198584</c:v>
                </c:pt>
                <c:pt idx="50">
                  <c:v>208188</c:v>
                </c:pt>
                <c:pt idx="51">
                  <c:v>144702</c:v>
                </c:pt>
                <c:pt idx="52">
                  <c:v>163390</c:v>
                </c:pt>
                <c:pt idx="53">
                  <c:v>151580</c:v>
                </c:pt>
                <c:pt idx="54">
                  <c:v>164814</c:v>
                </c:pt>
                <c:pt idx="55">
                  <c:v>181377</c:v>
                </c:pt>
                <c:pt idx="56">
                  <c:v>159309</c:v>
                </c:pt>
                <c:pt idx="57">
                  <c:v>128395</c:v>
                </c:pt>
                <c:pt idx="58">
                  <c:v>111491</c:v>
                </c:pt>
                <c:pt idx="59">
                  <c:v>104576</c:v>
                </c:pt>
                <c:pt idx="60">
                  <c:v>100988</c:v>
                </c:pt>
                <c:pt idx="61">
                  <c:v>102623</c:v>
                </c:pt>
                <c:pt idx="62">
                  <c:v>116290</c:v>
                </c:pt>
                <c:pt idx="63">
                  <c:v>141890</c:v>
                </c:pt>
                <c:pt idx="64">
                  <c:v>141298</c:v>
                </c:pt>
                <c:pt idx="65">
                  <c:v>143641</c:v>
                </c:pt>
                <c:pt idx="66">
                  <c:v>140093</c:v>
                </c:pt>
                <c:pt idx="67">
                  <c:v>136290</c:v>
                </c:pt>
                <c:pt idx="68">
                  <c:v>137277</c:v>
                </c:pt>
                <c:pt idx="69">
                  <c:v>143692</c:v>
                </c:pt>
                <c:pt idx="70">
                  <c:v>141578</c:v>
                </c:pt>
                <c:pt idx="71">
                  <c:v>136631</c:v>
                </c:pt>
                <c:pt idx="72">
                  <c:v>161423</c:v>
                </c:pt>
                <c:pt idx="73">
                  <c:v>170265</c:v>
                </c:pt>
                <c:pt idx="74">
                  <c:v>180800</c:v>
                </c:pt>
                <c:pt idx="75">
                  <c:v>172358</c:v>
                </c:pt>
                <c:pt idx="76">
                  <c:v>168335</c:v>
                </c:pt>
                <c:pt idx="77">
                  <c:v>169113</c:v>
                </c:pt>
                <c:pt idx="78">
                  <c:v>186694</c:v>
                </c:pt>
                <c:pt idx="79">
                  <c:v>153870</c:v>
                </c:pt>
                <c:pt idx="80">
                  <c:v>145073</c:v>
                </c:pt>
                <c:pt idx="81">
                  <c:v>138642</c:v>
                </c:pt>
                <c:pt idx="82">
                  <c:v>147686</c:v>
                </c:pt>
                <c:pt idx="83">
                  <c:v>166614</c:v>
                </c:pt>
                <c:pt idx="84">
                  <c:v>164711</c:v>
                </c:pt>
                <c:pt idx="85">
                  <c:v>170799</c:v>
                </c:pt>
                <c:pt idx="86">
                  <c:v>163977</c:v>
                </c:pt>
                <c:pt idx="87">
                  <c:v>173486</c:v>
                </c:pt>
                <c:pt idx="88">
                  <c:v>161689</c:v>
                </c:pt>
                <c:pt idx="89">
                  <c:v>163252</c:v>
                </c:pt>
                <c:pt idx="90">
                  <c:v>152022</c:v>
                </c:pt>
                <c:pt idx="91">
                  <c:v>168391</c:v>
                </c:pt>
                <c:pt idx="92">
                  <c:v>138092</c:v>
                </c:pt>
                <c:pt idx="93">
                  <c:v>131565</c:v>
                </c:pt>
                <c:pt idx="94">
                  <c:v>146205</c:v>
                </c:pt>
                <c:pt idx="95">
                  <c:v>163223</c:v>
                </c:pt>
                <c:pt idx="96">
                  <c:v>173652</c:v>
                </c:pt>
                <c:pt idx="97">
                  <c:v>118233</c:v>
                </c:pt>
                <c:pt idx="98">
                  <c:v>3774</c:v>
                </c:pt>
                <c:pt idx="99">
                  <c:v>2658</c:v>
                </c:pt>
                <c:pt idx="100">
                  <c:v>3268</c:v>
                </c:pt>
                <c:pt idx="101">
                  <c:v>1980</c:v>
                </c:pt>
                <c:pt idx="102">
                  <c:v>1327</c:v>
                </c:pt>
                <c:pt idx="103">
                  <c:v>1377</c:v>
                </c:pt>
                <c:pt idx="104">
                  <c:v>2156</c:v>
                </c:pt>
                <c:pt idx="105">
                  <c:v>3796</c:v>
                </c:pt>
                <c:pt idx="106">
                  <c:v>6619</c:v>
                </c:pt>
                <c:pt idx="107">
                  <c:v>856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26628</c:v>
                </c:pt>
                <c:pt idx="1">
                  <c:v>218506</c:v>
                </c:pt>
                <c:pt idx="2">
                  <c:v>218198</c:v>
                </c:pt>
                <c:pt idx="3">
                  <c:v>211602</c:v>
                </c:pt>
                <c:pt idx="4">
                  <c:v>219000</c:v>
                </c:pt>
                <c:pt idx="5">
                  <c:v>224728</c:v>
                </c:pt>
                <c:pt idx="6">
                  <c:v>221822</c:v>
                </c:pt>
                <c:pt idx="7">
                  <c:v>238864</c:v>
                </c:pt>
                <c:pt idx="8">
                  <c:v>243970</c:v>
                </c:pt>
                <c:pt idx="9">
                  <c:v>228515</c:v>
                </c:pt>
                <c:pt idx="10">
                  <c:v>229825</c:v>
                </c:pt>
                <c:pt idx="11">
                  <c:v>227890</c:v>
                </c:pt>
                <c:pt idx="12">
                  <c:v>219007</c:v>
                </c:pt>
                <c:pt idx="13">
                  <c:v>239397</c:v>
                </c:pt>
                <c:pt idx="14">
                  <c:v>212470</c:v>
                </c:pt>
                <c:pt idx="15">
                  <c:v>224764</c:v>
                </c:pt>
                <c:pt idx="16">
                  <c:v>214499</c:v>
                </c:pt>
                <c:pt idx="17">
                  <c:v>225972</c:v>
                </c:pt>
                <c:pt idx="18">
                  <c:v>210728</c:v>
                </c:pt>
                <c:pt idx="19">
                  <c:v>206971</c:v>
                </c:pt>
                <c:pt idx="20">
                  <c:v>224390</c:v>
                </c:pt>
                <c:pt idx="21">
                  <c:v>232430</c:v>
                </c:pt>
                <c:pt idx="22">
                  <c:v>231517</c:v>
                </c:pt>
                <c:pt idx="23">
                  <c:v>223656</c:v>
                </c:pt>
                <c:pt idx="24">
                  <c:v>219332</c:v>
                </c:pt>
                <c:pt idx="25">
                  <c:v>225387</c:v>
                </c:pt>
                <c:pt idx="26">
                  <c:v>232517</c:v>
                </c:pt>
                <c:pt idx="27">
                  <c:v>229096</c:v>
                </c:pt>
                <c:pt idx="28">
                  <c:v>245859</c:v>
                </c:pt>
                <c:pt idx="29">
                  <c:v>233763</c:v>
                </c:pt>
                <c:pt idx="30">
                  <c:v>249849</c:v>
                </c:pt>
                <c:pt idx="31">
                  <c:v>234462</c:v>
                </c:pt>
                <c:pt idx="32">
                  <c:v>235244</c:v>
                </c:pt>
                <c:pt idx="33">
                  <c:v>226988</c:v>
                </c:pt>
                <c:pt idx="34">
                  <c:v>232454</c:v>
                </c:pt>
                <c:pt idx="35">
                  <c:v>222318</c:v>
                </c:pt>
                <c:pt idx="36">
                  <c:v>211878</c:v>
                </c:pt>
                <c:pt idx="37">
                  <c:v>206844</c:v>
                </c:pt>
                <c:pt idx="38">
                  <c:v>211309</c:v>
                </c:pt>
                <c:pt idx="39">
                  <c:v>221829</c:v>
                </c:pt>
                <c:pt idx="40">
                  <c:v>204385</c:v>
                </c:pt>
                <c:pt idx="41">
                  <c:v>207977</c:v>
                </c:pt>
                <c:pt idx="42">
                  <c:v>205072</c:v>
                </c:pt>
                <c:pt idx="43">
                  <c:v>209566</c:v>
                </c:pt>
                <c:pt idx="44">
                  <c:v>203460</c:v>
                </c:pt>
                <c:pt idx="45">
                  <c:v>201449</c:v>
                </c:pt>
                <c:pt idx="46">
                  <c:v>188127</c:v>
                </c:pt>
                <c:pt idx="47">
                  <c:v>195601</c:v>
                </c:pt>
                <c:pt idx="48">
                  <c:v>206830</c:v>
                </c:pt>
                <c:pt idx="49">
                  <c:v>214134</c:v>
                </c:pt>
                <c:pt idx="50">
                  <c:v>224535</c:v>
                </c:pt>
                <c:pt idx="51">
                  <c:v>153468</c:v>
                </c:pt>
                <c:pt idx="52">
                  <c:v>170229</c:v>
                </c:pt>
                <c:pt idx="53">
                  <c:v>172730</c:v>
                </c:pt>
                <c:pt idx="54">
                  <c:v>177329</c:v>
                </c:pt>
                <c:pt idx="55">
                  <c:v>187659</c:v>
                </c:pt>
                <c:pt idx="56">
                  <c:v>196729</c:v>
                </c:pt>
                <c:pt idx="57">
                  <c:v>198544</c:v>
                </c:pt>
                <c:pt idx="58">
                  <c:v>186130</c:v>
                </c:pt>
                <c:pt idx="59">
                  <c:v>213755</c:v>
                </c:pt>
                <c:pt idx="60">
                  <c:v>204868</c:v>
                </c:pt>
                <c:pt idx="61">
                  <c:v>199474</c:v>
                </c:pt>
                <c:pt idx="62">
                  <c:v>189660</c:v>
                </c:pt>
                <c:pt idx="63">
                  <c:v>184486</c:v>
                </c:pt>
                <c:pt idx="64">
                  <c:v>182488</c:v>
                </c:pt>
                <c:pt idx="65">
                  <c:v>186182</c:v>
                </c:pt>
                <c:pt idx="66">
                  <c:v>179260</c:v>
                </c:pt>
                <c:pt idx="67">
                  <c:v>172235</c:v>
                </c:pt>
                <c:pt idx="68">
                  <c:v>170172</c:v>
                </c:pt>
                <c:pt idx="69">
                  <c:v>178954</c:v>
                </c:pt>
                <c:pt idx="70">
                  <c:v>175725</c:v>
                </c:pt>
                <c:pt idx="71">
                  <c:v>167090</c:v>
                </c:pt>
                <c:pt idx="72">
                  <c:v>176891</c:v>
                </c:pt>
                <c:pt idx="73">
                  <c:v>170684</c:v>
                </c:pt>
                <c:pt idx="74">
                  <c:v>181069</c:v>
                </c:pt>
                <c:pt idx="75">
                  <c:v>172723</c:v>
                </c:pt>
                <c:pt idx="76">
                  <c:v>169691</c:v>
                </c:pt>
                <c:pt idx="77">
                  <c:v>169425</c:v>
                </c:pt>
                <c:pt idx="78">
                  <c:v>187137</c:v>
                </c:pt>
                <c:pt idx="79">
                  <c:v>172788</c:v>
                </c:pt>
                <c:pt idx="80">
                  <c:v>180552</c:v>
                </c:pt>
                <c:pt idx="81">
                  <c:v>174248</c:v>
                </c:pt>
                <c:pt idx="82">
                  <c:v>182203</c:v>
                </c:pt>
                <c:pt idx="83">
                  <c:v>176906</c:v>
                </c:pt>
                <c:pt idx="84">
                  <c:v>173258</c:v>
                </c:pt>
                <c:pt idx="85">
                  <c:v>170971</c:v>
                </c:pt>
                <c:pt idx="86">
                  <c:v>169698</c:v>
                </c:pt>
                <c:pt idx="87">
                  <c:v>173861</c:v>
                </c:pt>
                <c:pt idx="88">
                  <c:v>162085</c:v>
                </c:pt>
                <c:pt idx="89">
                  <c:v>163540</c:v>
                </c:pt>
                <c:pt idx="90">
                  <c:v>162004</c:v>
                </c:pt>
                <c:pt idx="91">
                  <c:v>189970</c:v>
                </c:pt>
                <c:pt idx="92">
                  <c:v>172695</c:v>
                </c:pt>
                <c:pt idx="93">
                  <c:v>175648</c:v>
                </c:pt>
                <c:pt idx="94">
                  <c:v>167038</c:v>
                </c:pt>
                <c:pt idx="95">
                  <c:v>163483</c:v>
                </c:pt>
                <c:pt idx="96">
                  <c:v>174043</c:v>
                </c:pt>
                <c:pt idx="97">
                  <c:v>168558</c:v>
                </c:pt>
                <c:pt idx="98">
                  <c:v>162738</c:v>
                </c:pt>
                <c:pt idx="99">
                  <c:v>155740</c:v>
                </c:pt>
                <c:pt idx="100">
                  <c:v>172148</c:v>
                </c:pt>
                <c:pt idx="101">
                  <c:v>173933</c:v>
                </c:pt>
                <c:pt idx="102">
                  <c:v>188419</c:v>
                </c:pt>
                <c:pt idx="103">
                  <c:v>159811</c:v>
                </c:pt>
                <c:pt idx="104">
                  <c:v>166633</c:v>
                </c:pt>
                <c:pt idx="105">
                  <c:v>154298</c:v>
                </c:pt>
                <c:pt idx="106">
                  <c:v>156691</c:v>
                </c:pt>
                <c:pt idx="107">
                  <c:v>14364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08679</c:v>
                </c:pt>
                <c:pt idx="1">
                  <c:v>210664</c:v>
                </c:pt>
                <c:pt idx="2">
                  <c:v>213028</c:v>
                </c:pt>
                <c:pt idx="3">
                  <c:v>213429</c:v>
                </c:pt>
                <c:pt idx="4">
                  <c:v>214630</c:v>
                </c:pt>
                <c:pt idx="5">
                  <c:v>217591</c:v>
                </c:pt>
                <c:pt idx="6">
                  <c:v>223315</c:v>
                </c:pt>
                <c:pt idx="7">
                  <c:v>232842</c:v>
                </c:pt>
                <c:pt idx="8">
                  <c:v>234011</c:v>
                </c:pt>
                <c:pt idx="9">
                  <c:v>232595</c:v>
                </c:pt>
                <c:pt idx="10">
                  <c:v>230861</c:v>
                </c:pt>
                <c:pt idx="11">
                  <c:v>229055</c:v>
                </c:pt>
                <c:pt idx="12">
                  <c:v>227485</c:v>
                </c:pt>
                <c:pt idx="13">
                  <c:v>224842</c:v>
                </c:pt>
                <c:pt idx="14">
                  <c:v>223832</c:v>
                </c:pt>
                <c:pt idx="15">
                  <c:v>221427</c:v>
                </c:pt>
                <c:pt idx="16">
                  <c:v>218736</c:v>
                </c:pt>
                <c:pt idx="17">
                  <c:v>219752</c:v>
                </c:pt>
                <c:pt idx="18">
                  <c:v>218940</c:v>
                </c:pt>
                <c:pt idx="19">
                  <c:v>221427</c:v>
                </c:pt>
                <c:pt idx="20">
                  <c:v>221537</c:v>
                </c:pt>
                <c:pt idx="21">
                  <c:v>222229</c:v>
                </c:pt>
                <c:pt idx="22">
                  <c:v>222104</c:v>
                </c:pt>
                <c:pt idx="23">
                  <c:v>224837</c:v>
                </c:pt>
                <c:pt idx="24">
                  <c:v>227525</c:v>
                </c:pt>
                <c:pt idx="25">
                  <c:v>229798</c:v>
                </c:pt>
                <c:pt idx="26">
                  <c:v>229706</c:v>
                </c:pt>
                <c:pt idx="27">
                  <c:v>231717</c:v>
                </c:pt>
                <c:pt idx="28">
                  <c:v>232983</c:v>
                </c:pt>
                <c:pt idx="29">
                  <c:v>234607</c:v>
                </c:pt>
                <c:pt idx="30">
                  <c:v>235284</c:v>
                </c:pt>
                <c:pt idx="31">
                  <c:v>234497</c:v>
                </c:pt>
                <c:pt idx="32">
                  <c:v>234197</c:v>
                </c:pt>
                <c:pt idx="33">
                  <c:v>229342</c:v>
                </c:pt>
                <c:pt idx="34">
                  <c:v>226332</c:v>
                </c:pt>
                <c:pt idx="35">
                  <c:v>221874</c:v>
                </c:pt>
                <c:pt idx="36">
                  <c:v>220486</c:v>
                </c:pt>
                <c:pt idx="37">
                  <c:v>216803</c:v>
                </c:pt>
                <c:pt idx="38">
                  <c:v>214492</c:v>
                </c:pt>
                <c:pt idx="39">
                  <c:v>211483</c:v>
                </c:pt>
                <c:pt idx="40">
                  <c:v>209658</c:v>
                </c:pt>
                <c:pt idx="41">
                  <c:v>208425</c:v>
                </c:pt>
                <c:pt idx="42">
                  <c:v>207246</c:v>
                </c:pt>
                <c:pt idx="43">
                  <c:v>204717</c:v>
                </c:pt>
                <c:pt idx="44">
                  <c:v>201928</c:v>
                </c:pt>
                <c:pt idx="45">
                  <c:v>202228</c:v>
                </c:pt>
                <c:pt idx="46">
                  <c:v>203930</c:v>
                </c:pt>
                <c:pt idx="47">
                  <c:v>207653</c:v>
                </c:pt>
                <c:pt idx="48">
                  <c:v>201632</c:v>
                </c:pt>
                <c:pt idx="49">
                  <c:v>195576</c:v>
                </c:pt>
                <c:pt idx="50">
                  <c:v>189930</c:v>
                </c:pt>
                <c:pt idx="51">
                  <c:v>217951</c:v>
                </c:pt>
                <c:pt idx="52">
                  <c:v>218305</c:v>
                </c:pt>
                <c:pt idx="53">
                  <c:v>206886</c:v>
                </c:pt>
                <c:pt idx="54">
                  <c:v>191214</c:v>
                </c:pt>
                <c:pt idx="55">
                  <c:v>177297</c:v>
                </c:pt>
                <c:pt idx="56">
                  <c:v>180766</c:v>
                </c:pt>
                <c:pt idx="57">
                  <c:v>194454</c:v>
                </c:pt>
                <c:pt idx="58">
                  <c:v>194309</c:v>
                </c:pt>
                <c:pt idx="59">
                  <c:v>195500</c:v>
                </c:pt>
                <c:pt idx="60">
                  <c:v>199670</c:v>
                </c:pt>
                <c:pt idx="61">
                  <c:v>197838</c:v>
                </c:pt>
                <c:pt idx="62">
                  <c:v>196618</c:v>
                </c:pt>
                <c:pt idx="63">
                  <c:v>194133</c:v>
                </c:pt>
                <c:pt idx="64">
                  <c:v>190848</c:v>
                </c:pt>
                <c:pt idx="65">
                  <c:v>188595</c:v>
                </c:pt>
                <c:pt idx="66">
                  <c:v>187158</c:v>
                </c:pt>
                <c:pt idx="67">
                  <c:v>181264</c:v>
                </c:pt>
                <c:pt idx="68">
                  <c:v>175655</c:v>
                </c:pt>
                <c:pt idx="69">
                  <c:v>175769</c:v>
                </c:pt>
                <c:pt idx="70">
                  <c:v>173679</c:v>
                </c:pt>
                <c:pt idx="71">
                  <c:v>173215</c:v>
                </c:pt>
                <c:pt idx="72">
                  <c:v>174206</c:v>
                </c:pt>
                <c:pt idx="73">
                  <c:v>174013</c:v>
                </c:pt>
                <c:pt idx="74">
                  <c:v>172824</c:v>
                </c:pt>
                <c:pt idx="75">
                  <c:v>174406</c:v>
                </c:pt>
                <c:pt idx="76">
                  <c:v>174967</c:v>
                </c:pt>
                <c:pt idx="77">
                  <c:v>175654</c:v>
                </c:pt>
                <c:pt idx="78">
                  <c:v>176067</c:v>
                </c:pt>
                <c:pt idx="79">
                  <c:v>175677</c:v>
                </c:pt>
                <c:pt idx="80">
                  <c:v>176362</c:v>
                </c:pt>
                <c:pt idx="81">
                  <c:v>176790</c:v>
                </c:pt>
                <c:pt idx="82">
                  <c:v>177822</c:v>
                </c:pt>
                <c:pt idx="83">
                  <c:v>175016</c:v>
                </c:pt>
                <c:pt idx="84">
                  <c:v>175094</c:v>
                </c:pt>
                <c:pt idx="85">
                  <c:v>173055</c:v>
                </c:pt>
                <c:pt idx="86">
                  <c:v>171677</c:v>
                </c:pt>
                <c:pt idx="87">
                  <c:v>169263</c:v>
                </c:pt>
                <c:pt idx="88">
                  <c:v>170698</c:v>
                </c:pt>
                <c:pt idx="89">
                  <c:v>170449</c:v>
                </c:pt>
                <c:pt idx="90">
                  <c:v>170798</c:v>
                </c:pt>
                <c:pt idx="91">
                  <c:v>170724</c:v>
                </c:pt>
                <c:pt idx="92">
                  <c:v>169019</c:v>
                </c:pt>
                <c:pt idx="93">
                  <c:v>170813</c:v>
                </c:pt>
                <c:pt idx="94">
                  <c:v>171476</c:v>
                </c:pt>
                <c:pt idx="95">
                  <c:v>172667</c:v>
                </c:pt>
                <c:pt idx="96">
                  <c:v>170101</c:v>
                </c:pt>
                <c:pt idx="97">
                  <c:v>170021</c:v>
                </c:pt>
                <c:pt idx="98">
                  <c:v>168947</c:v>
                </c:pt>
                <c:pt idx="99">
                  <c:v>168245</c:v>
                </c:pt>
                <c:pt idx="100">
                  <c:v>174712</c:v>
                </c:pt>
                <c:pt idx="101">
                  <c:v>174949</c:v>
                </c:pt>
                <c:pt idx="102">
                  <c:v>175392</c:v>
                </c:pt>
                <c:pt idx="103">
                  <c:v>172538</c:v>
                </c:pt>
                <c:pt idx="104">
                  <c:v>175739</c:v>
                </c:pt>
                <c:pt idx="105">
                  <c:v>167841</c:v>
                </c:pt>
                <c:pt idx="106">
                  <c:v>175339</c:v>
                </c:pt>
                <c:pt idx="107">
                  <c:v>16082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7</c:v>
                </c:pt>
                <c:pt idx="1">
                  <c:v>0.09</c:v>
                </c:pt>
                <c:pt idx="2">
                  <c:v>7.0000000000000007E-2</c:v>
                </c:pt>
                <c:pt idx="3">
                  <c:v>0.04</c:v>
                </c:pt>
                <c:pt idx="4">
                  <c:v>0.02</c:v>
                </c:pt>
                <c:pt idx="5">
                  <c:v>0.12</c:v>
                </c:pt>
                <c:pt idx="6">
                  <c:v>0.15</c:v>
                </c:pt>
                <c:pt idx="7">
                  <c:v>0.16</c:v>
                </c:pt>
                <c:pt idx="8">
                  <c:v>0.12</c:v>
                </c:pt>
                <c:pt idx="9">
                  <c:v>0.12</c:v>
                </c:pt>
                <c:pt idx="10">
                  <c:v>0.13</c:v>
                </c:pt>
                <c:pt idx="11">
                  <c:v>0.12</c:v>
                </c:pt>
                <c:pt idx="12">
                  <c:v>0.11</c:v>
                </c:pt>
                <c:pt idx="13">
                  <c:v>0.1</c:v>
                </c:pt>
                <c:pt idx="14">
                  <c:v>0.11</c:v>
                </c:pt>
                <c:pt idx="15">
                  <c:v>0.13</c:v>
                </c:pt>
                <c:pt idx="16">
                  <c:v>0.1</c:v>
                </c:pt>
                <c:pt idx="17">
                  <c:v>0.02</c:v>
                </c:pt>
                <c:pt idx="18">
                  <c:v>0</c:v>
                </c:pt>
                <c:pt idx="19">
                  <c:v>0</c:v>
                </c:pt>
                <c:pt idx="20">
                  <c:v>0</c:v>
                </c:pt>
                <c:pt idx="21">
                  <c:v>0</c:v>
                </c:pt>
                <c:pt idx="22">
                  <c:v>0</c:v>
                </c:pt>
                <c:pt idx="23">
                  <c:v>0</c:v>
                </c:pt>
                <c:pt idx="24">
                  <c:v>0</c:v>
                </c:pt>
                <c:pt idx="25">
                  <c:v>0</c:v>
                </c:pt>
                <c:pt idx="26">
                  <c:v>0</c:v>
                </c:pt>
                <c:pt idx="27">
                  <c:v>0.08</c:v>
                </c:pt>
                <c:pt idx="28">
                  <c:v>0.17</c:v>
                </c:pt>
                <c:pt idx="29">
                  <c:v>0.15</c:v>
                </c:pt>
                <c:pt idx="30">
                  <c:v>0.14000000000000001</c:v>
                </c:pt>
                <c:pt idx="31">
                  <c:v>0.14000000000000001</c:v>
                </c:pt>
                <c:pt idx="32">
                  <c:v>0.13</c:v>
                </c:pt>
                <c:pt idx="33">
                  <c:v>0.15</c:v>
                </c:pt>
                <c:pt idx="34">
                  <c:v>0.17</c:v>
                </c:pt>
                <c:pt idx="35">
                  <c:v>7.0000000000000007E-2</c:v>
                </c:pt>
                <c:pt idx="36">
                  <c:v>0.01</c:v>
                </c:pt>
                <c:pt idx="37">
                  <c:v>0</c:v>
                </c:pt>
                <c:pt idx="38">
                  <c:v>7.0000000000000007E-2</c:v>
                </c:pt>
                <c:pt idx="39">
                  <c:v>0.11</c:v>
                </c:pt>
                <c:pt idx="40">
                  <c:v>0.17</c:v>
                </c:pt>
                <c:pt idx="41">
                  <c:v>0.2</c:v>
                </c:pt>
                <c:pt idx="42">
                  <c:v>0.18</c:v>
                </c:pt>
                <c:pt idx="43">
                  <c:v>0.13</c:v>
                </c:pt>
                <c:pt idx="44">
                  <c:v>0.01</c:v>
                </c:pt>
                <c:pt idx="45">
                  <c:v>0</c:v>
                </c:pt>
                <c:pt idx="46">
                  <c:v>0</c:v>
                </c:pt>
                <c:pt idx="47">
                  <c:v>0</c:v>
                </c:pt>
                <c:pt idx="48">
                  <c:v>0.01</c:v>
                </c:pt>
                <c:pt idx="49">
                  <c:v>0.12</c:v>
                </c:pt>
                <c:pt idx="50">
                  <c:v>0.13</c:v>
                </c:pt>
                <c:pt idx="51">
                  <c:v>0.1</c:v>
                </c:pt>
                <c:pt idx="52">
                  <c:v>0.06</c:v>
                </c:pt>
                <c:pt idx="53">
                  <c:v>0.19</c:v>
                </c:pt>
                <c:pt idx="54">
                  <c:v>0.13</c:v>
                </c:pt>
                <c:pt idx="55">
                  <c:v>0.06</c:v>
                </c:pt>
                <c:pt idx="56">
                  <c:v>0.22</c:v>
                </c:pt>
                <c:pt idx="57">
                  <c:v>0.38</c:v>
                </c:pt>
                <c:pt idx="58">
                  <c:v>0.42</c:v>
                </c:pt>
                <c:pt idx="59">
                  <c:v>0.53</c:v>
                </c:pt>
                <c:pt idx="60">
                  <c:v>0.52</c:v>
                </c:pt>
                <c:pt idx="61">
                  <c:v>0.5</c:v>
                </c:pt>
                <c:pt idx="62">
                  <c:v>0.4</c:v>
                </c:pt>
                <c:pt idx="63">
                  <c:v>0.23</c:v>
                </c:pt>
                <c:pt idx="64">
                  <c:v>0.23</c:v>
                </c:pt>
                <c:pt idx="65">
                  <c:v>0.23</c:v>
                </c:pt>
                <c:pt idx="66">
                  <c:v>0.22</c:v>
                </c:pt>
                <c:pt idx="67">
                  <c:v>0.21</c:v>
                </c:pt>
                <c:pt idx="68">
                  <c:v>0.19</c:v>
                </c:pt>
                <c:pt idx="69">
                  <c:v>0.2</c:v>
                </c:pt>
                <c:pt idx="70">
                  <c:v>0.2</c:v>
                </c:pt>
                <c:pt idx="71">
                  <c:v>0.19</c:v>
                </c:pt>
                <c:pt idx="72">
                  <c:v>0.09</c:v>
                </c:pt>
                <c:pt idx="73">
                  <c:v>0</c:v>
                </c:pt>
                <c:pt idx="74">
                  <c:v>0</c:v>
                </c:pt>
                <c:pt idx="75">
                  <c:v>0</c:v>
                </c:pt>
                <c:pt idx="76">
                  <c:v>0.01</c:v>
                </c:pt>
                <c:pt idx="77">
                  <c:v>0</c:v>
                </c:pt>
                <c:pt idx="78">
                  <c:v>0</c:v>
                </c:pt>
                <c:pt idx="79">
                  <c:v>0.12</c:v>
                </c:pt>
                <c:pt idx="80">
                  <c:v>0.21</c:v>
                </c:pt>
                <c:pt idx="81">
                  <c:v>0.22</c:v>
                </c:pt>
                <c:pt idx="82">
                  <c:v>0.19</c:v>
                </c:pt>
                <c:pt idx="83">
                  <c:v>0.06</c:v>
                </c:pt>
                <c:pt idx="84">
                  <c:v>0.05</c:v>
                </c:pt>
                <c:pt idx="85">
                  <c:v>0</c:v>
                </c:pt>
                <c:pt idx="86">
                  <c:v>0.03</c:v>
                </c:pt>
                <c:pt idx="87">
                  <c:v>0</c:v>
                </c:pt>
                <c:pt idx="88">
                  <c:v>0</c:v>
                </c:pt>
                <c:pt idx="89">
                  <c:v>0</c:v>
                </c:pt>
                <c:pt idx="90">
                  <c:v>7.0000000000000007E-2</c:v>
                </c:pt>
                <c:pt idx="91">
                  <c:v>0.12</c:v>
                </c:pt>
                <c:pt idx="92">
                  <c:v>0.23</c:v>
                </c:pt>
                <c:pt idx="93">
                  <c:v>0.26</c:v>
                </c:pt>
                <c:pt idx="94">
                  <c:v>0.13</c:v>
                </c:pt>
                <c:pt idx="95">
                  <c:v>0</c:v>
                </c:pt>
                <c:pt idx="96">
                  <c:v>0</c:v>
                </c:pt>
                <c:pt idx="97">
                  <c:v>0.32</c:v>
                </c:pt>
                <c:pt idx="98">
                  <c:v>0.98</c:v>
                </c:pt>
                <c:pt idx="99">
                  <c:v>0.98</c:v>
                </c:pt>
                <c:pt idx="100">
                  <c:v>0.98</c:v>
                </c:pt>
                <c:pt idx="101">
                  <c:v>0.99</c:v>
                </c:pt>
                <c:pt idx="102">
                  <c:v>0.99</c:v>
                </c:pt>
                <c:pt idx="103">
                  <c:v>0.99</c:v>
                </c:pt>
                <c:pt idx="104">
                  <c:v>0.99</c:v>
                </c:pt>
                <c:pt idx="105">
                  <c:v>0.97</c:v>
                </c:pt>
                <c:pt idx="106">
                  <c:v>0.96</c:v>
                </c:pt>
                <c:pt idx="107">
                  <c:v>0.9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89</c:v>
                </c:pt>
                <c:pt idx="1">
                  <c:v>284</c:v>
                </c:pt>
                <c:pt idx="2">
                  <c:v>294</c:v>
                </c:pt>
                <c:pt idx="3">
                  <c:v>315</c:v>
                </c:pt>
                <c:pt idx="4">
                  <c:v>310</c:v>
                </c:pt>
                <c:pt idx="5">
                  <c:v>279</c:v>
                </c:pt>
                <c:pt idx="6">
                  <c:v>329</c:v>
                </c:pt>
                <c:pt idx="7">
                  <c:v>177</c:v>
                </c:pt>
                <c:pt idx="8">
                  <c:v>594</c:v>
                </c:pt>
                <c:pt idx="9">
                  <c:v>432</c:v>
                </c:pt>
                <c:pt idx="10">
                  <c:v>339</c:v>
                </c:pt>
                <c:pt idx="11">
                  <c:v>401</c:v>
                </c:pt>
                <c:pt idx="12">
                  <c:v>281</c:v>
                </c:pt>
                <c:pt idx="13">
                  <c:v>150</c:v>
                </c:pt>
                <c:pt idx="14">
                  <c:v>12324</c:v>
                </c:pt>
                <c:pt idx="15">
                  <c:v>11892</c:v>
                </c:pt>
                <c:pt idx="16">
                  <c:v>5416</c:v>
                </c:pt>
                <c:pt idx="17">
                  <c:v>4549</c:v>
                </c:pt>
                <c:pt idx="18">
                  <c:v>3435</c:v>
                </c:pt>
                <c:pt idx="19">
                  <c:v>2370</c:v>
                </c:pt>
                <c:pt idx="20">
                  <c:v>1967</c:v>
                </c:pt>
                <c:pt idx="21">
                  <c:v>1286</c:v>
                </c:pt>
                <c:pt idx="22">
                  <c:v>1503</c:v>
                </c:pt>
                <c:pt idx="23">
                  <c:v>764</c:v>
                </c:pt>
                <c:pt idx="24">
                  <c:v>914</c:v>
                </c:pt>
                <c:pt idx="25">
                  <c:v>551</c:v>
                </c:pt>
                <c:pt idx="26">
                  <c:v>706</c:v>
                </c:pt>
                <c:pt idx="27">
                  <c:v>396</c:v>
                </c:pt>
                <c:pt idx="28">
                  <c:v>686</c:v>
                </c:pt>
                <c:pt idx="29">
                  <c:v>801</c:v>
                </c:pt>
                <c:pt idx="30">
                  <c:v>817</c:v>
                </c:pt>
                <c:pt idx="31">
                  <c:v>445</c:v>
                </c:pt>
                <c:pt idx="32">
                  <c:v>724</c:v>
                </c:pt>
                <c:pt idx="33">
                  <c:v>284</c:v>
                </c:pt>
                <c:pt idx="34">
                  <c:v>392</c:v>
                </c:pt>
                <c:pt idx="35">
                  <c:v>389</c:v>
                </c:pt>
                <c:pt idx="36">
                  <c:v>490</c:v>
                </c:pt>
                <c:pt idx="37">
                  <c:v>475</c:v>
                </c:pt>
                <c:pt idx="38">
                  <c:v>1147</c:v>
                </c:pt>
                <c:pt idx="39">
                  <c:v>1536</c:v>
                </c:pt>
                <c:pt idx="40">
                  <c:v>805</c:v>
                </c:pt>
                <c:pt idx="41">
                  <c:v>1397</c:v>
                </c:pt>
                <c:pt idx="42">
                  <c:v>1484</c:v>
                </c:pt>
                <c:pt idx="43">
                  <c:v>1448</c:v>
                </c:pt>
                <c:pt idx="44">
                  <c:v>1592</c:v>
                </c:pt>
                <c:pt idx="45">
                  <c:v>1657</c:v>
                </c:pt>
                <c:pt idx="46">
                  <c:v>1495</c:v>
                </c:pt>
                <c:pt idx="47">
                  <c:v>1632</c:v>
                </c:pt>
                <c:pt idx="48">
                  <c:v>1929</c:v>
                </c:pt>
                <c:pt idx="49">
                  <c:v>1583</c:v>
                </c:pt>
                <c:pt idx="50">
                  <c:v>1843</c:v>
                </c:pt>
                <c:pt idx="51">
                  <c:v>1235</c:v>
                </c:pt>
                <c:pt idx="52">
                  <c:v>1567</c:v>
                </c:pt>
                <c:pt idx="53">
                  <c:v>1579</c:v>
                </c:pt>
                <c:pt idx="54">
                  <c:v>1581</c:v>
                </c:pt>
                <c:pt idx="55">
                  <c:v>1543</c:v>
                </c:pt>
                <c:pt idx="56">
                  <c:v>1455</c:v>
                </c:pt>
                <c:pt idx="57">
                  <c:v>1623</c:v>
                </c:pt>
                <c:pt idx="58">
                  <c:v>1274</c:v>
                </c:pt>
                <c:pt idx="59">
                  <c:v>2000</c:v>
                </c:pt>
                <c:pt idx="60">
                  <c:v>1365</c:v>
                </c:pt>
                <c:pt idx="61">
                  <c:v>1410</c:v>
                </c:pt>
                <c:pt idx="62">
                  <c:v>1625</c:v>
                </c:pt>
                <c:pt idx="63">
                  <c:v>1408</c:v>
                </c:pt>
                <c:pt idx="64">
                  <c:v>1696</c:v>
                </c:pt>
                <c:pt idx="65">
                  <c:v>1535</c:v>
                </c:pt>
                <c:pt idx="66">
                  <c:v>1370</c:v>
                </c:pt>
                <c:pt idx="67">
                  <c:v>1463</c:v>
                </c:pt>
                <c:pt idx="68">
                  <c:v>1319</c:v>
                </c:pt>
                <c:pt idx="69">
                  <c:v>1452</c:v>
                </c:pt>
                <c:pt idx="70">
                  <c:v>1490</c:v>
                </c:pt>
                <c:pt idx="71">
                  <c:v>1199</c:v>
                </c:pt>
                <c:pt idx="72">
                  <c:v>1203</c:v>
                </c:pt>
                <c:pt idx="73">
                  <c:v>1177</c:v>
                </c:pt>
                <c:pt idx="74">
                  <c:v>1137</c:v>
                </c:pt>
                <c:pt idx="75">
                  <c:v>1835</c:v>
                </c:pt>
                <c:pt idx="76">
                  <c:v>1296</c:v>
                </c:pt>
                <c:pt idx="77">
                  <c:v>1411</c:v>
                </c:pt>
                <c:pt idx="78">
                  <c:v>1447</c:v>
                </c:pt>
                <c:pt idx="79">
                  <c:v>1500</c:v>
                </c:pt>
                <c:pt idx="80">
                  <c:v>951</c:v>
                </c:pt>
                <c:pt idx="81">
                  <c:v>1219</c:v>
                </c:pt>
                <c:pt idx="82">
                  <c:v>1331</c:v>
                </c:pt>
                <c:pt idx="83">
                  <c:v>1083</c:v>
                </c:pt>
                <c:pt idx="84">
                  <c:v>1311</c:v>
                </c:pt>
                <c:pt idx="85">
                  <c:v>1643</c:v>
                </c:pt>
                <c:pt idx="86">
                  <c:v>926</c:v>
                </c:pt>
                <c:pt idx="87">
                  <c:v>1415</c:v>
                </c:pt>
                <c:pt idx="88">
                  <c:v>1102</c:v>
                </c:pt>
                <c:pt idx="89">
                  <c:v>1283</c:v>
                </c:pt>
                <c:pt idx="90">
                  <c:v>1122</c:v>
                </c:pt>
                <c:pt idx="91">
                  <c:v>1195</c:v>
                </c:pt>
                <c:pt idx="92">
                  <c:v>1247</c:v>
                </c:pt>
                <c:pt idx="93">
                  <c:v>1428</c:v>
                </c:pt>
                <c:pt idx="94">
                  <c:v>859</c:v>
                </c:pt>
                <c:pt idx="95">
                  <c:v>1199</c:v>
                </c:pt>
                <c:pt idx="96">
                  <c:v>1105</c:v>
                </c:pt>
                <c:pt idx="97">
                  <c:v>934</c:v>
                </c:pt>
                <c:pt idx="98">
                  <c:v>1117</c:v>
                </c:pt>
                <c:pt idx="99">
                  <c:v>896</c:v>
                </c:pt>
                <c:pt idx="100">
                  <c:v>1303</c:v>
                </c:pt>
                <c:pt idx="101">
                  <c:v>26539</c:v>
                </c:pt>
                <c:pt idx="102">
                  <c:v>35808</c:v>
                </c:pt>
                <c:pt idx="103">
                  <c:v>21400</c:v>
                </c:pt>
                <c:pt idx="104">
                  <c:v>23633</c:v>
                </c:pt>
                <c:pt idx="105">
                  <c:v>12372</c:v>
                </c:pt>
                <c:pt idx="106">
                  <c:v>5743</c:v>
                </c:pt>
                <c:pt idx="107">
                  <c:v>26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75541</c:v>
                </c:pt>
                <c:pt idx="1">
                  <c:v>73109</c:v>
                </c:pt>
                <c:pt idx="2">
                  <c:v>79011</c:v>
                </c:pt>
                <c:pt idx="3">
                  <c:v>79625</c:v>
                </c:pt>
                <c:pt idx="4">
                  <c:v>83840</c:v>
                </c:pt>
                <c:pt idx="5">
                  <c:v>83439</c:v>
                </c:pt>
                <c:pt idx="6">
                  <c:v>77686</c:v>
                </c:pt>
                <c:pt idx="7">
                  <c:v>80295</c:v>
                </c:pt>
                <c:pt idx="8">
                  <c:v>79128</c:v>
                </c:pt>
                <c:pt idx="9">
                  <c:v>74010</c:v>
                </c:pt>
                <c:pt idx="10">
                  <c:v>60685</c:v>
                </c:pt>
                <c:pt idx="11">
                  <c:v>52449</c:v>
                </c:pt>
                <c:pt idx="12">
                  <c:v>43830</c:v>
                </c:pt>
                <c:pt idx="13">
                  <c:v>38930</c:v>
                </c:pt>
                <c:pt idx="14">
                  <c:v>32205</c:v>
                </c:pt>
                <c:pt idx="15">
                  <c:v>78882</c:v>
                </c:pt>
                <c:pt idx="16">
                  <c:v>116390</c:v>
                </c:pt>
                <c:pt idx="17">
                  <c:v>131281</c:v>
                </c:pt>
                <c:pt idx="18">
                  <c:v>125683</c:v>
                </c:pt>
                <c:pt idx="19">
                  <c:v>124214</c:v>
                </c:pt>
                <c:pt idx="20">
                  <c:v>130499</c:v>
                </c:pt>
                <c:pt idx="21">
                  <c:v>138041</c:v>
                </c:pt>
                <c:pt idx="22">
                  <c:v>137895</c:v>
                </c:pt>
                <c:pt idx="23">
                  <c:v>135001</c:v>
                </c:pt>
                <c:pt idx="24">
                  <c:v>132195</c:v>
                </c:pt>
                <c:pt idx="25">
                  <c:v>138434</c:v>
                </c:pt>
                <c:pt idx="26">
                  <c:v>142842</c:v>
                </c:pt>
                <c:pt idx="27">
                  <c:v>142814</c:v>
                </c:pt>
                <c:pt idx="28">
                  <c:v>141082</c:v>
                </c:pt>
                <c:pt idx="29">
                  <c:v>139856</c:v>
                </c:pt>
                <c:pt idx="30">
                  <c:v>153242</c:v>
                </c:pt>
                <c:pt idx="31">
                  <c:v>146006</c:v>
                </c:pt>
                <c:pt idx="32">
                  <c:v>144727</c:v>
                </c:pt>
                <c:pt idx="33">
                  <c:v>141814</c:v>
                </c:pt>
                <c:pt idx="34">
                  <c:v>146481</c:v>
                </c:pt>
                <c:pt idx="35">
                  <c:v>143629</c:v>
                </c:pt>
                <c:pt idx="36">
                  <c:v>134037</c:v>
                </c:pt>
                <c:pt idx="37">
                  <c:v>136491</c:v>
                </c:pt>
                <c:pt idx="38">
                  <c:v>136766</c:v>
                </c:pt>
                <c:pt idx="39">
                  <c:v>143508</c:v>
                </c:pt>
                <c:pt idx="40">
                  <c:v>136763</c:v>
                </c:pt>
                <c:pt idx="41">
                  <c:v>135826</c:v>
                </c:pt>
                <c:pt idx="42">
                  <c:v>136202</c:v>
                </c:pt>
                <c:pt idx="43">
                  <c:v>142563</c:v>
                </c:pt>
                <c:pt idx="44">
                  <c:v>145925</c:v>
                </c:pt>
                <c:pt idx="45">
                  <c:v>137784</c:v>
                </c:pt>
                <c:pt idx="46">
                  <c:v>131322</c:v>
                </c:pt>
                <c:pt idx="47">
                  <c:v>144569</c:v>
                </c:pt>
                <c:pt idx="48">
                  <c:v>149716</c:v>
                </c:pt>
                <c:pt idx="49">
                  <c:v>145929</c:v>
                </c:pt>
                <c:pt idx="50">
                  <c:v>167007</c:v>
                </c:pt>
                <c:pt idx="51">
                  <c:v>127155</c:v>
                </c:pt>
                <c:pt idx="52">
                  <c:v>146873</c:v>
                </c:pt>
                <c:pt idx="53">
                  <c:v>138653</c:v>
                </c:pt>
                <c:pt idx="54">
                  <c:v>129754</c:v>
                </c:pt>
                <c:pt idx="55">
                  <c:v>133970</c:v>
                </c:pt>
                <c:pt idx="56">
                  <c:v>137724</c:v>
                </c:pt>
                <c:pt idx="57">
                  <c:v>139634</c:v>
                </c:pt>
                <c:pt idx="58">
                  <c:v>132481</c:v>
                </c:pt>
                <c:pt idx="59">
                  <c:v>139741</c:v>
                </c:pt>
                <c:pt idx="60">
                  <c:v>146875</c:v>
                </c:pt>
                <c:pt idx="61">
                  <c:v>147777</c:v>
                </c:pt>
                <c:pt idx="62">
                  <c:v>141202</c:v>
                </c:pt>
                <c:pt idx="63">
                  <c:v>133765</c:v>
                </c:pt>
                <c:pt idx="64">
                  <c:v>137958</c:v>
                </c:pt>
                <c:pt idx="65">
                  <c:v>144406</c:v>
                </c:pt>
                <c:pt idx="66">
                  <c:v>143878</c:v>
                </c:pt>
                <c:pt idx="67">
                  <c:v>143530</c:v>
                </c:pt>
                <c:pt idx="68">
                  <c:v>139539</c:v>
                </c:pt>
                <c:pt idx="69">
                  <c:v>149223</c:v>
                </c:pt>
                <c:pt idx="70">
                  <c:v>145439</c:v>
                </c:pt>
                <c:pt idx="71">
                  <c:v>134645</c:v>
                </c:pt>
                <c:pt idx="72">
                  <c:v>144115</c:v>
                </c:pt>
                <c:pt idx="73">
                  <c:v>139567</c:v>
                </c:pt>
                <c:pt idx="74">
                  <c:v>155323</c:v>
                </c:pt>
                <c:pt idx="75">
                  <c:v>144044</c:v>
                </c:pt>
                <c:pt idx="76">
                  <c:v>145392</c:v>
                </c:pt>
                <c:pt idx="77">
                  <c:v>145941</c:v>
                </c:pt>
                <c:pt idx="78">
                  <c:v>158709</c:v>
                </c:pt>
                <c:pt idx="79">
                  <c:v>146195</c:v>
                </c:pt>
                <c:pt idx="80">
                  <c:v>148759</c:v>
                </c:pt>
                <c:pt idx="81">
                  <c:v>145861</c:v>
                </c:pt>
                <c:pt idx="82">
                  <c:v>153868</c:v>
                </c:pt>
                <c:pt idx="83">
                  <c:v>149007</c:v>
                </c:pt>
                <c:pt idx="84">
                  <c:v>148159</c:v>
                </c:pt>
                <c:pt idx="85">
                  <c:v>145554</c:v>
                </c:pt>
                <c:pt idx="86">
                  <c:v>148235</c:v>
                </c:pt>
                <c:pt idx="87">
                  <c:v>150150</c:v>
                </c:pt>
                <c:pt idx="88">
                  <c:v>138945</c:v>
                </c:pt>
                <c:pt idx="89">
                  <c:v>141618</c:v>
                </c:pt>
                <c:pt idx="90">
                  <c:v>137152</c:v>
                </c:pt>
                <c:pt idx="91">
                  <c:v>153264</c:v>
                </c:pt>
                <c:pt idx="92">
                  <c:v>138757</c:v>
                </c:pt>
                <c:pt idx="93">
                  <c:v>142579</c:v>
                </c:pt>
                <c:pt idx="94">
                  <c:v>138356</c:v>
                </c:pt>
                <c:pt idx="95">
                  <c:v>144237</c:v>
                </c:pt>
                <c:pt idx="96">
                  <c:v>147883</c:v>
                </c:pt>
                <c:pt idx="97">
                  <c:v>141091</c:v>
                </c:pt>
                <c:pt idx="98">
                  <c:v>138526</c:v>
                </c:pt>
                <c:pt idx="99">
                  <c:v>127713</c:v>
                </c:pt>
                <c:pt idx="100">
                  <c:v>148015</c:v>
                </c:pt>
                <c:pt idx="101">
                  <c:v>121691</c:v>
                </c:pt>
                <c:pt idx="102">
                  <c:v>112070</c:v>
                </c:pt>
                <c:pt idx="103">
                  <c:v>96392</c:v>
                </c:pt>
                <c:pt idx="104">
                  <c:v>100237</c:v>
                </c:pt>
                <c:pt idx="105">
                  <c:v>90398</c:v>
                </c:pt>
                <c:pt idx="106">
                  <c:v>110044</c:v>
                </c:pt>
                <c:pt idx="107">
                  <c:v>13731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930</c:v>
                </c:pt>
                <c:pt idx="1">
                  <c:v>73393</c:v>
                </c:pt>
                <c:pt idx="2">
                  <c:v>79305</c:v>
                </c:pt>
                <c:pt idx="3">
                  <c:v>79940</c:v>
                </c:pt>
                <c:pt idx="4">
                  <c:v>84150</c:v>
                </c:pt>
                <c:pt idx="5">
                  <c:v>83718</c:v>
                </c:pt>
                <c:pt idx="6">
                  <c:v>78015</c:v>
                </c:pt>
                <c:pt idx="7">
                  <c:v>80472</c:v>
                </c:pt>
                <c:pt idx="8">
                  <c:v>79722</c:v>
                </c:pt>
                <c:pt idx="9">
                  <c:v>74442</c:v>
                </c:pt>
                <c:pt idx="10">
                  <c:v>61024</c:v>
                </c:pt>
                <c:pt idx="11">
                  <c:v>52850</c:v>
                </c:pt>
                <c:pt idx="12">
                  <c:v>44111</c:v>
                </c:pt>
                <c:pt idx="13">
                  <c:v>39080</c:v>
                </c:pt>
                <c:pt idx="14">
                  <c:v>44529</c:v>
                </c:pt>
                <c:pt idx="15">
                  <c:v>90774</c:v>
                </c:pt>
                <c:pt idx="16">
                  <c:v>121806</c:v>
                </c:pt>
                <c:pt idx="17">
                  <c:v>135830</c:v>
                </c:pt>
                <c:pt idx="18">
                  <c:v>129118</c:v>
                </c:pt>
                <c:pt idx="19">
                  <c:v>126584</c:v>
                </c:pt>
                <c:pt idx="20">
                  <c:v>132466</c:v>
                </c:pt>
                <c:pt idx="21">
                  <c:v>139327</c:v>
                </c:pt>
                <c:pt idx="22">
                  <c:v>139398</c:v>
                </c:pt>
                <c:pt idx="23">
                  <c:v>135765</c:v>
                </c:pt>
                <c:pt idx="24">
                  <c:v>133109</c:v>
                </c:pt>
                <c:pt idx="25">
                  <c:v>138985</c:v>
                </c:pt>
                <c:pt idx="26">
                  <c:v>143548</c:v>
                </c:pt>
                <c:pt idx="27">
                  <c:v>143210</c:v>
                </c:pt>
                <c:pt idx="28">
                  <c:v>141768</c:v>
                </c:pt>
                <c:pt idx="29">
                  <c:v>140657</c:v>
                </c:pt>
                <c:pt idx="30">
                  <c:v>154059</c:v>
                </c:pt>
                <c:pt idx="31">
                  <c:v>146451</c:v>
                </c:pt>
                <c:pt idx="32">
                  <c:v>145451</c:v>
                </c:pt>
                <c:pt idx="33">
                  <c:v>142098</c:v>
                </c:pt>
                <c:pt idx="34">
                  <c:v>146873</c:v>
                </c:pt>
                <c:pt idx="35">
                  <c:v>144018</c:v>
                </c:pt>
                <c:pt idx="36">
                  <c:v>134527</c:v>
                </c:pt>
                <c:pt idx="37">
                  <c:v>136966</c:v>
                </c:pt>
                <c:pt idx="38">
                  <c:v>137913</c:v>
                </c:pt>
                <c:pt idx="39">
                  <c:v>145044</c:v>
                </c:pt>
                <c:pt idx="40">
                  <c:v>137568</c:v>
                </c:pt>
                <c:pt idx="41">
                  <c:v>137223</c:v>
                </c:pt>
                <c:pt idx="42">
                  <c:v>137686</c:v>
                </c:pt>
                <c:pt idx="43">
                  <c:v>144011</c:v>
                </c:pt>
                <c:pt idx="44">
                  <c:v>147517</c:v>
                </c:pt>
                <c:pt idx="45">
                  <c:v>139441</c:v>
                </c:pt>
                <c:pt idx="46">
                  <c:v>132817</c:v>
                </c:pt>
                <c:pt idx="47">
                  <c:v>146201</c:v>
                </c:pt>
                <c:pt idx="48">
                  <c:v>151645</c:v>
                </c:pt>
                <c:pt idx="49">
                  <c:v>147512</c:v>
                </c:pt>
                <c:pt idx="50">
                  <c:v>168850</c:v>
                </c:pt>
                <c:pt idx="51">
                  <c:v>128390</c:v>
                </c:pt>
                <c:pt idx="52">
                  <c:v>148440</c:v>
                </c:pt>
                <c:pt idx="53">
                  <c:v>140232</c:v>
                </c:pt>
                <c:pt idx="54">
                  <c:v>131335</c:v>
                </c:pt>
                <c:pt idx="55">
                  <c:v>135513</c:v>
                </c:pt>
                <c:pt idx="56">
                  <c:v>139179</c:v>
                </c:pt>
                <c:pt idx="57">
                  <c:v>141257</c:v>
                </c:pt>
                <c:pt idx="58">
                  <c:v>133755</c:v>
                </c:pt>
                <c:pt idx="59">
                  <c:v>141741</c:v>
                </c:pt>
                <c:pt idx="60">
                  <c:v>148240</c:v>
                </c:pt>
                <c:pt idx="61">
                  <c:v>149187</c:v>
                </c:pt>
                <c:pt idx="62">
                  <c:v>142827</c:v>
                </c:pt>
                <c:pt idx="63">
                  <c:v>135173</c:v>
                </c:pt>
                <c:pt idx="64">
                  <c:v>139654</c:v>
                </c:pt>
                <c:pt idx="65">
                  <c:v>145941</c:v>
                </c:pt>
                <c:pt idx="66">
                  <c:v>145248</c:v>
                </c:pt>
                <c:pt idx="67">
                  <c:v>144993</c:v>
                </c:pt>
                <c:pt idx="68">
                  <c:v>140858</c:v>
                </c:pt>
                <c:pt idx="69">
                  <c:v>150675</c:v>
                </c:pt>
                <c:pt idx="70">
                  <c:v>146929</c:v>
                </c:pt>
                <c:pt idx="71">
                  <c:v>135844</c:v>
                </c:pt>
                <c:pt idx="72">
                  <c:v>145318</c:v>
                </c:pt>
                <c:pt idx="73">
                  <c:v>140744</c:v>
                </c:pt>
                <c:pt idx="74">
                  <c:v>156460</c:v>
                </c:pt>
                <c:pt idx="75">
                  <c:v>145879</c:v>
                </c:pt>
                <c:pt idx="76">
                  <c:v>146688</c:v>
                </c:pt>
                <c:pt idx="77">
                  <c:v>147352</c:v>
                </c:pt>
                <c:pt idx="78">
                  <c:v>160156</c:v>
                </c:pt>
                <c:pt idx="79">
                  <c:v>147695</c:v>
                </c:pt>
                <c:pt idx="80">
                  <c:v>149710</c:v>
                </c:pt>
                <c:pt idx="81">
                  <c:v>147080</c:v>
                </c:pt>
                <c:pt idx="82">
                  <c:v>155199</c:v>
                </c:pt>
                <c:pt idx="83">
                  <c:v>150090</c:v>
                </c:pt>
                <c:pt idx="84">
                  <c:v>149470</c:v>
                </c:pt>
                <c:pt idx="85">
                  <c:v>147197</c:v>
                </c:pt>
                <c:pt idx="86">
                  <c:v>149161</c:v>
                </c:pt>
                <c:pt idx="87">
                  <c:v>151565</c:v>
                </c:pt>
                <c:pt idx="88">
                  <c:v>140047</c:v>
                </c:pt>
                <c:pt idx="89">
                  <c:v>142901</c:v>
                </c:pt>
                <c:pt idx="90">
                  <c:v>138274</c:v>
                </c:pt>
                <c:pt idx="91">
                  <c:v>154459</c:v>
                </c:pt>
                <c:pt idx="92">
                  <c:v>140004</c:v>
                </c:pt>
                <c:pt idx="93">
                  <c:v>144007</c:v>
                </c:pt>
                <c:pt idx="94">
                  <c:v>139215</c:v>
                </c:pt>
                <c:pt idx="95">
                  <c:v>145436</c:v>
                </c:pt>
                <c:pt idx="96">
                  <c:v>148988</c:v>
                </c:pt>
                <c:pt idx="97">
                  <c:v>142025</c:v>
                </c:pt>
                <c:pt idx="98">
                  <c:v>139643</c:v>
                </c:pt>
                <c:pt idx="99">
                  <c:v>128609</c:v>
                </c:pt>
                <c:pt idx="100">
                  <c:v>149318</c:v>
                </c:pt>
                <c:pt idx="101">
                  <c:v>148230</c:v>
                </c:pt>
                <c:pt idx="102">
                  <c:v>147878</c:v>
                </c:pt>
                <c:pt idx="103">
                  <c:v>117792</c:v>
                </c:pt>
                <c:pt idx="104">
                  <c:v>123870</c:v>
                </c:pt>
                <c:pt idx="105">
                  <c:v>102770</c:v>
                </c:pt>
                <c:pt idx="106">
                  <c:v>115787</c:v>
                </c:pt>
                <c:pt idx="107">
                  <c:v>13991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77236</c:v>
                </c:pt>
                <c:pt idx="1">
                  <c:v>78613</c:v>
                </c:pt>
                <c:pt idx="2">
                  <c:v>79533</c:v>
                </c:pt>
                <c:pt idx="3">
                  <c:v>79318</c:v>
                </c:pt>
                <c:pt idx="4">
                  <c:v>79529</c:v>
                </c:pt>
                <c:pt idx="5">
                  <c:v>79982</c:v>
                </c:pt>
                <c:pt idx="6">
                  <c:v>80177</c:v>
                </c:pt>
                <c:pt idx="7">
                  <c:v>77830</c:v>
                </c:pt>
                <c:pt idx="8">
                  <c:v>74415</c:v>
                </c:pt>
                <c:pt idx="9">
                  <c:v>69380</c:v>
                </c:pt>
                <c:pt idx="10">
                  <c:v>63798</c:v>
                </c:pt>
                <c:pt idx="11">
                  <c:v>58533</c:v>
                </c:pt>
                <c:pt idx="12">
                  <c:v>51911</c:v>
                </c:pt>
                <c:pt idx="13">
                  <c:v>43709</c:v>
                </c:pt>
                <c:pt idx="14">
                  <c:v>119253</c:v>
                </c:pt>
                <c:pt idx="15">
                  <c:v>120425</c:v>
                </c:pt>
                <c:pt idx="16">
                  <c:v>112969</c:v>
                </c:pt>
                <c:pt idx="17">
                  <c:v>114694</c:v>
                </c:pt>
                <c:pt idx="18">
                  <c:v>115231</c:v>
                </c:pt>
                <c:pt idx="19">
                  <c:v>128001</c:v>
                </c:pt>
                <c:pt idx="20">
                  <c:v>133962</c:v>
                </c:pt>
                <c:pt idx="21">
                  <c:v>134876</c:v>
                </c:pt>
                <c:pt idx="22">
                  <c:v>134948</c:v>
                </c:pt>
                <c:pt idx="23">
                  <c:v>136783</c:v>
                </c:pt>
                <c:pt idx="24">
                  <c:v>139015</c:v>
                </c:pt>
                <c:pt idx="25">
                  <c:v>139693</c:v>
                </c:pt>
                <c:pt idx="26">
                  <c:v>139584</c:v>
                </c:pt>
                <c:pt idx="27">
                  <c:v>141480</c:v>
                </c:pt>
                <c:pt idx="28">
                  <c:v>142873</c:v>
                </c:pt>
                <c:pt idx="29">
                  <c:v>144414</c:v>
                </c:pt>
                <c:pt idx="30">
                  <c:v>144787</c:v>
                </c:pt>
                <c:pt idx="31">
                  <c:v>145203</c:v>
                </c:pt>
                <c:pt idx="32">
                  <c:v>145308</c:v>
                </c:pt>
                <c:pt idx="33">
                  <c:v>144386</c:v>
                </c:pt>
                <c:pt idx="34">
                  <c:v>143921</c:v>
                </c:pt>
                <c:pt idx="35">
                  <c:v>141901</c:v>
                </c:pt>
                <c:pt idx="36">
                  <c:v>141762</c:v>
                </c:pt>
                <c:pt idx="37">
                  <c:v>140782</c:v>
                </c:pt>
                <c:pt idx="38">
                  <c:v>140190</c:v>
                </c:pt>
                <c:pt idx="39">
                  <c:v>139074</c:v>
                </c:pt>
                <c:pt idx="40">
                  <c:v>139117</c:v>
                </c:pt>
                <c:pt idx="41">
                  <c:v>140728</c:v>
                </c:pt>
                <c:pt idx="42">
                  <c:v>141065</c:v>
                </c:pt>
                <c:pt idx="43">
                  <c:v>140443</c:v>
                </c:pt>
                <c:pt idx="44">
                  <c:v>140585</c:v>
                </c:pt>
                <c:pt idx="45">
                  <c:v>142346</c:v>
                </c:pt>
                <c:pt idx="46">
                  <c:v>143572</c:v>
                </c:pt>
                <c:pt idx="47">
                  <c:v>147524</c:v>
                </c:pt>
                <c:pt idx="48">
                  <c:v>145560</c:v>
                </c:pt>
                <c:pt idx="49">
                  <c:v>145571</c:v>
                </c:pt>
                <c:pt idx="50">
                  <c:v>145662</c:v>
                </c:pt>
                <c:pt idx="51">
                  <c:v>145456</c:v>
                </c:pt>
                <c:pt idx="52">
                  <c:v>144107</c:v>
                </c:pt>
                <c:pt idx="53">
                  <c:v>142548</c:v>
                </c:pt>
                <c:pt idx="54">
                  <c:v>141814</c:v>
                </c:pt>
                <c:pt idx="55">
                  <c:v>137429</c:v>
                </c:pt>
                <c:pt idx="56">
                  <c:v>139100</c:v>
                </c:pt>
                <c:pt idx="57">
                  <c:v>139064</c:v>
                </c:pt>
                <c:pt idx="58">
                  <c:v>140142</c:v>
                </c:pt>
                <c:pt idx="59">
                  <c:v>141599</c:v>
                </c:pt>
                <c:pt idx="60">
                  <c:v>141576</c:v>
                </c:pt>
                <c:pt idx="61">
                  <c:v>141624</c:v>
                </c:pt>
                <c:pt idx="62">
                  <c:v>142162</c:v>
                </c:pt>
                <c:pt idx="63">
                  <c:v>143608</c:v>
                </c:pt>
                <c:pt idx="64">
                  <c:v>143990</c:v>
                </c:pt>
                <c:pt idx="65">
                  <c:v>143048</c:v>
                </c:pt>
                <c:pt idx="66">
                  <c:v>143267</c:v>
                </c:pt>
                <c:pt idx="67">
                  <c:v>143771</c:v>
                </c:pt>
                <c:pt idx="68">
                  <c:v>143803</c:v>
                </c:pt>
                <c:pt idx="69">
                  <c:v>144509</c:v>
                </c:pt>
                <c:pt idx="70">
                  <c:v>143862</c:v>
                </c:pt>
                <c:pt idx="71">
                  <c:v>145286</c:v>
                </c:pt>
                <c:pt idx="72">
                  <c:v>145455</c:v>
                </c:pt>
                <c:pt idx="73">
                  <c:v>146141</c:v>
                </c:pt>
                <c:pt idx="74">
                  <c:v>145740</c:v>
                </c:pt>
                <c:pt idx="75">
                  <c:v>147390</c:v>
                </c:pt>
                <c:pt idx="76">
                  <c:v>148888</c:v>
                </c:pt>
                <c:pt idx="77">
                  <c:v>149442</c:v>
                </c:pt>
                <c:pt idx="78">
                  <c:v>150239</c:v>
                </c:pt>
                <c:pt idx="79">
                  <c:v>150105</c:v>
                </c:pt>
                <c:pt idx="80">
                  <c:v>150628</c:v>
                </c:pt>
                <c:pt idx="81">
                  <c:v>150945</c:v>
                </c:pt>
                <c:pt idx="82">
                  <c:v>150919</c:v>
                </c:pt>
                <c:pt idx="83">
                  <c:v>149537</c:v>
                </c:pt>
                <c:pt idx="84">
                  <c:v>150014</c:v>
                </c:pt>
                <c:pt idx="85">
                  <c:v>148860</c:v>
                </c:pt>
                <c:pt idx="86">
                  <c:v>148304</c:v>
                </c:pt>
                <c:pt idx="87">
                  <c:v>146146</c:v>
                </c:pt>
                <c:pt idx="88">
                  <c:v>146735</c:v>
                </c:pt>
                <c:pt idx="89">
                  <c:v>145533</c:v>
                </c:pt>
                <c:pt idx="90">
                  <c:v>145148</c:v>
                </c:pt>
                <c:pt idx="91">
                  <c:v>143910</c:v>
                </c:pt>
                <c:pt idx="92">
                  <c:v>143152</c:v>
                </c:pt>
                <c:pt idx="93">
                  <c:v>144240</c:v>
                </c:pt>
                <c:pt idx="94">
                  <c:v>144099</c:v>
                </c:pt>
                <c:pt idx="95">
                  <c:v>144279</c:v>
                </c:pt>
                <c:pt idx="96">
                  <c:v>171892</c:v>
                </c:pt>
                <c:pt idx="97">
                  <c:v>142249</c:v>
                </c:pt>
                <c:pt idx="98">
                  <c:v>141951</c:v>
                </c:pt>
                <c:pt idx="99">
                  <c:v>142311</c:v>
                </c:pt>
                <c:pt idx="100">
                  <c:v>139745</c:v>
                </c:pt>
                <c:pt idx="101">
                  <c:v>140859</c:v>
                </c:pt>
                <c:pt idx="102">
                  <c:v>140635</c:v>
                </c:pt>
                <c:pt idx="103">
                  <c:v>133781</c:v>
                </c:pt>
                <c:pt idx="104">
                  <c:v>133302</c:v>
                </c:pt>
                <c:pt idx="105">
                  <c:v>115108</c:v>
                </c:pt>
                <c:pt idx="106">
                  <c:v>144871</c:v>
                </c:pt>
                <c:pt idx="107">
                  <c:v>14008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c:v>
                </c:pt>
                <c:pt idx="2">
                  <c:v>0</c:v>
                </c:pt>
                <c:pt idx="3">
                  <c:v>0.01</c:v>
                </c:pt>
                <c:pt idx="4">
                  <c:v>0</c:v>
                </c:pt>
                <c:pt idx="5">
                  <c:v>0.01</c:v>
                </c:pt>
                <c:pt idx="6">
                  <c:v>0.01</c:v>
                </c:pt>
                <c:pt idx="7">
                  <c:v>0</c:v>
                </c:pt>
                <c:pt idx="8">
                  <c:v>0.01</c:v>
                </c:pt>
                <c:pt idx="9">
                  <c:v>0.01</c:v>
                </c:pt>
                <c:pt idx="10">
                  <c:v>0.01</c:v>
                </c:pt>
                <c:pt idx="11">
                  <c:v>0.01</c:v>
                </c:pt>
                <c:pt idx="12">
                  <c:v>0.01</c:v>
                </c:pt>
                <c:pt idx="13">
                  <c:v>0.01</c:v>
                </c:pt>
                <c:pt idx="14">
                  <c:v>0.47</c:v>
                </c:pt>
                <c:pt idx="15">
                  <c:v>0.32</c:v>
                </c:pt>
                <c:pt idx="16">
                  <c:v>0.13</c:v>
                </c:pt>
                <c:pt idx="17">
                  <c:v>0.1</c:v>
                </c:pt>
                <c:pt idx="18">
                  <c:v>7.0000000000000007E-2</c:v>
                </c:pt>
                <c:pt idx="19">
                  <c:v>0.05</c:v>
                </c:pt>
                <c:pt idx="20">
                  <c:v>0.04</c:v>
                </c:pt>
                <c:pt idx="21">
                  <c:v>0.03</c:v>
                </c:pt>
                <c:pt idx="22">
                  <c:v>0.03</c:v>
                </c:pt>
                <c:pt idx="23">
                  <c:v>0.02</c:v>
                </c:pt>
                <c:pt idx="24">
                  <c:v>0.01</c:v>
                </c:pt>
                <c:pt idx="25">
                  <c:v>0.01</c:v>
                </c:pt>
                <c:pt idx="26">
                  <c:v>0.01</c:v>
                </c:pt>
                <c:pt idx="27">
                  <c:v>0.01</c:v>
                </c:pt>
                <c:pt idx="28">
                  <c:v>0.01</c:v>
                </c:pt>
                <c:pt idx="29">
                  <c:v>0.01</c:v>
                </c:pt>
                <c:pt idx="30">
                  <c:v>0.01</c:v>
                </c:pt>
                <c:pt idx="31">
                  <c:v>0</c:v>
                </c:pt>
                <c:pt idx="32">
                  <c:v>0.01</c:v>
                </c:pt>
                <c:pt idx="33">
                  <c:v>0</c:v>
                </c:pt>
                <c:pt idx="34">
                  <c:v>0</c:v>
                </c:pt>
                <c:pt idx="35">
                  <c:v>0</c:v>
                </c:pt>
                <c:pt idx="36">
                  <c:v>0.01</c:v>
                </c:pt>
                <c:pt idx="37">
                  <c:v>0</c:v>
                </c:pt>
                <c:pt idx="38">
                  <c:v>0.01</c:v>
                </c:pt>
                <c:pt idx="39">
                  <c:v>0.01</c:v>
                </c:pt>
                <c:pt idx="40">
                  <c:v>0.01</c:v>
                </c:pt>
                <c:pt idx="41">
                  <c:v>0.01</c:v>
                </c:pt>
                <c:pt idx="42">
                  <c:v>0.01</c:v>
                </c:pt>
                <c:pt idx="43">
                  <c:v>0.01</c:v>
                </c:pt>
                <c:pt idx="44">
                  <c:v>0.01</c:v>
                </c:pt>
                <c:pt idx="45">
                  <c:v>0.01</c:v>
                </c:pt>
                <c:pt idx="46">
                  <c:v>0.01</c:v>
                </c:pt>
                <c:pt idx="47">
                  <c:v>0.01</c:v>
                </c:pt>
                <c:pt idx="48">
                  <c:v>0.02</c:v>
                </c:pt>
                <c:pt idx="49">
                  <c:v>0.01</c:v>
                </c:pt>
                <c:pt idx="50">
                  <c:v>0.01</c:v>
                </c:pt>
                <c:pt idx="51">
                  <c:v>0.01</c:v>
                </c:pt>
                <c:pt idx="52">
                  <c:v>0.01</c:v>
                </c:pt>
                <c:pt idx="53">
                  <c:v>0.01</c:v>
                </c:pt>
                <c:pt idx="54">
                  <c:v>0.01</c:v>
                </c:pt>
                <c:pt idx="55">
                  <c:v>0.01</c:v>
                </c:pt>
                <c:pt idx="56">
                  <c:v>0.01</c:v>
                </c:pt>
                <c:pt idx="57">
                  <c:v>0.01</c:v>
                </c:pt>
                <c:pt idx="58">
                  <c:v>0.01</c:v>
                </c:pt>
                <c:pt idx="59">
                  <c:v>0.02</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24</c:v>
                </c:pt>
                <c:pt idx="102">
                  <c:v>0.34</c:v>
                </c:pt>
                <c:pt idx="103">
                  <c:v>0.26</c:v>
                </c:pt>
                <c:pt idx="104">
                  <c:v>0.33</c:v>
                </c:pt>
                <c:pt idx="105">
                  <c:v>0.27</c:v>
                </c:pt>
                <c:pt idx="106">
                  <c:v>0.12</c:v>
                </c:pt>
                <c:pt idx="107">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87</c:v>
                </c:pt>
                <c:pt idx="1">
                  <c:v>0</c:v>
                </c:pt>
                <c:pt idx="2">
                  <c:v>0</c:v>
                </c:pt>
                <c:pt idx="3">
                  <c:v>13</c:v>
                </c:pt>
                <c:pt idx="4">
                  <c:v>0</c:v>
                </c:pt>
                <c:pt idx="5">
                  <c:v>120</c:v>
                </c:pt>
                <c:pt idx="6">
                  <c:v>252</c:v>
                </c:pt>
                <c:pt idx="7">
                  <c:v>226</c:v>
                </c:pt>
                <c:pt idx="8">
                  <c:v>51</c:v>
                </c:pt>
                <c:pt idx="9">
                  <c:v>70</c:v>
                </c:pt>
                <c:pt idx="10">
                  <c:v>190</c:v>
                </c:pt>
                <c:pt idx="11">
                  <c:v>193</c:v>
                </c:pt>
                <c:pt idx="12">
                  <c:v>136</c:v>
                </c:pt>
                <c:pt idx="13">
                  <c:v>167</c:v>
                </c:pt>
                <c:pt idx="14">
                  <c:v>153</c:v>
                </c:pt>
                <c:pt idx="15">
                  <c:v>162</c:v>
                </c:pt>
                <c:pt idx="16">
                  <c:v>148</c:v>
                </c:pt>
                <c:pt idx="17">
                  <c:v>231</c:v>
                </c:pt>
                <c:pt idx="18">
                  <c:v>177</c:v>
                </c:pt>
                <c:pt idx="19">
                  <c:v>147</c:v>
                </c:pt>
                <c:pt idx="20">
                  <c:v>305</c:v>
                </c:pt>
                <c:pt idx="21">
                  <c:v>160</c:v>
                </c:pt>
                <c:pt idx="22">
                  <c:v>298</c:v>
                </c:pt>
                <c:pt idx="23">
                  <c:v>249</c:v>
                </c:pt>
                <c:pt idx="24">
                  <c:v>104</c:v>
                </c:pt>
                <c:pt idx="25">
                  <c:v>268</c:v>
                </c:pt>
                <c:pt idx="26">
                  <c:v>437</c:v>
                </c:pt>
                <c:pt idx="27">
                  <c:v>193</c:v>
                </c:pt>
                <c:pt idx="28">
                  <c:v>217</c:v>
                </c:pt>
                <c:pt idx="29">
                  <c:v>129</c:v>
                </c:pt>
                <c:pt idx="30">
                  <c:v>136</c:v>
                </c:pt>
                <c:pt idx="31">
                  <c:v>216</c:v>
                </c:pt>
                <c:pt idx="32">
                  <c:v>226</c:v>
                </c:pt>
                <c:pt idx="33">
                  <c:v>103</c:v>
                </c:pt>
                <c:pt idx="34">
                  <c:v>137</c:v>
                </c:pt>
                <c:pt idx="35">
                  <c:v>45</c:v>
                </c:pt>
                <c:pt idx="36">
                  <c:v>249</c:v>
                </c:pt>
                <c:pt idx="37">
                  <c:v>171</c:v>
                </c:pt>
                <c:pt idx="38">
                  <c:v>170</c:v>
                </c:pt>
                <c:pt idx="39">
                  <c:v>294</c:v>
                </c:pt>
                <c:pt idx="40">
                  <c:v>237</c:v>
                </c:pt>
                <c:pt idx="41">
                  <c:v>142</c:v>
                </c:pt>
                <c:pt idx="42">
                  <c:v>240</c:v>
                </c:pt>
                <c:pt idx="43">
                  <c:v>8</c:v>
                </c:pt>
                <c:pt idx="44">
                  <c:v>0</c:v>
                </c:pt>
                <c:pt idx="45">
                  <c:v>34</c:v>
                </c:pt>
                <c:pt idx="46">
                  <c:v>0</c:v>
                </c:pt>
                <c:pt idx="47">
                  <c:v>0</c:v>
                </c:pt>
                <c:pt idx="48">
                  <c:v>0</c:v>
                </c:pt>
                <c:pt idx="49">
                  <c:v>2398</c:v>
                </c:pt>
                <c:pt idx="50">
                  <c:v>4633</c:v>
                </c:pt>
                <c:pt idx="51">
                  <c:v>3451</c:v>
                </c:pt>
                <c:pt idx="52">
                  <c:v>2956</c:v>
                </c:pt>
                <c:pt idx="53">
                  <c:v>6004</c:v>
                </c:pt>
                <c:pt idx="54">
                  <c:v>4692</c:v>
                </c:pt>
                <c:pt idx="55">
                  <c:v>3709</c:v>
                </c:pt>
                <c:pt idx="56">
                  <c:v>1596</c:v>
                </c:pt>
                <c:pt idx="57">
                  <c:v>1103</c:v>
                </c:pt>
                <c:pt idx="58">
                  <c:v>569</c:v>
                </c:pt>
                <c:pt idx="59">
                  <c:v>540</c:v>
                </c:pt>
                <c:pt idx="60">
                  <c:v>475</c:v>
                </c:pt>
                <c:pt idx="61">
                  <c:v>136</c:v>
                </c:pt>
                <c:pt idx="62">
                  <c:v>133</c:v>
                </c:pt>
                <c:pt idx="63">
                  <c:v>138</c:v>
                </c:pt>
                <c:pt idx="64">
                  <c:v>66</c:v>
                </c:pt>
                <c:pt idx="65">
                  <c:v>10</c:v>
                </c:pt>
                <c:pt idx="66">
                  <c:v>27</c:v>
                </c:pt>
                <c:pt idx="67">
                  <c:v>23</c:v>
                </c:pt>
                <c:pt idx="68">
                  <c:v>41</c:v>
                </c:pt>
                <c:pt idx="69">
                  <c:v>5</c:v>
                </c:pt>
                <c:pt idx="70">
                  <c:v>3</c:v>
                </c:pt>
                <c:pt idx="71">
                  <c:v>22</c:v>
                </c:pt>
                <c:pt idx="72">
                  <c:v>66</c:v>
                </c:pt>
                <c:pt idx="73">
                  <c:v>0</c:v>
                </c:pt>
                <c:pt idx="74">
                  <c:v>0</c:v>
                </c:pt>
                <c:pt idx="75">
                  <c:v>38</c:v>
                </c:pt>
                <c:pt idx="76">
                  <c:v>8</c:v>
                </c:pt>
                <c:pt idx="77">
                  <c:v>12</c:v>
                </c:pt>
                <c:pt idx="78">
                  <c:v>35</c:v>
                </c:pt>
                <c:pt idx="79">
                  <c:v>52</c:v>
                </c:pt>
                <c:pt idx="80">
                  <c:v>30</c:v>
                </c:pt>
                <c:pt idx="81">
                  <c:v>4</c:v>
                </c:pt>
                <c:pt idx="82">
                  <c:v>6</c:v>
                </c:pt>
                <c:pt idx="83">
                  <c:v>4</c:v>
                </c:pt>
                <c:pt idx="84">
                  <c:v>0</c:v>
                </c:pt>
                <c:pt idx="85">
                  <c:v>0</c:v>
                </c:pt>
                <c:pt idx="86">
                  <c:v>0</c:v>
                </c:pt>
                <c:pt idx="87">
                  <c:v>0</c:v>
                </c:pt>
                <c:pt idx="88">
                  <c:v>0</c:v>
                </c:pt>
                <c:pt idx="89">
                  <c:v>0</c:v>
                </c:pt>
                <c:pt idx="90">
                  <c:v>19</c:v>
                </c:pt>
                <c:pt idx="91">
                  <c:v>0</c:v>
                </c:pt>
                <c:pt idx="92">
                  <c:v>12</c:v>
                </c:pt>
                <c:pt idx="93">
                  <c:v>3</c:v>
                </c:pt>
                <c:pt idx="94">
                  <c:v>15</c:v>
                </c:pt>
                <c:pt idx="95">
                  <c:v>0</c:v>
                </c:pt>
                <c:pt idx="96">
                  <c:v>10</c:v>
                </c:pt>
                <c:pt idx="97">
                  <c:v>0</c:v>
                </c:pt>
                <c:pt idx="98">
                  <c:v>0</c:v>
                </c:pt>
                <c:pt idx="99">
                  <c:v>0</c:v>
                </c:pt>
                <c:pt idx="100">
                  <c:v>6</c:v>
                </c:pt>
                <c:pt idx="101">
                  <c:v>6</c:v>
                </c:pt>
                <c:pt idx="102">
                  <c:v>0</c:v>
                </c:pt>
                <c:pt idx="103">
                  <c:v>0</c:v>
                </c:pt>
                <c:pt idx="104">
                  <c:v>0</c:v>
                </c:pt>
                <c:pt idx="105">
                  <c:v>10</c:v>
                </c:pt>
                <c:pt idx="106">
                  <c:v>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248</c:v>
                </c:pt>
                <c:pt idx="1">
                  <c:v>547</c:v>
                </c:pt>
                <c:pt idx="2">
                  <c:v>1108</c:v>
                </c:pt>
                <c:pt idx="3">
                  <c:v>1572</c:v>
                </c:pt>
                <c:pt idx="4">
                  <c:v>1677</c:v>
                </c:pt>
                <c:pt idx="5">
                  <c:v>2404</c:v>
                </c:pt>
                <c:pt idx="6">
                  <c:v>2232</c:v>
                </c:pt>
                <c:pt idx="7">
                  <c:v>2490</c:v>
                </c:pt>
                <c:pt idx="8">
                  <c:v>2944</c:v>
                </c:pt>
                <c:pt idx="9">
                  <c:v>2868</c:v>
                </c:pt>
                <c:pt idx="10">
                  <c:v>2827</c:v>
                </c:pt>
                <c:pt idx="11">
                  <c:v>2642</c:v>
                </c:pt>
                <c:pt idx="12">
                  <c:v>2803</c:v>
                </c:pt>
                <c:pt idx="13">
                  <c:v>3447</c:v>
                </c:pt>
                <c:pt idx="14">
                  <c:v>3865</c:v>
                </c:pt>
                <c:pt idx="15">
                  <c:v>3546</c:v>
                </c:pt>
                <c:pt idx="16">
                  <c:v>3847</c:v>
                </c:pt>
                <c:pt idx="17">
                  <c:v>4124</c:v>
                </c:pt>
                <c:pt idx="18">
                  <c:v>3727</c:v>
                </c:pt>
                <c:pt idx="19">
                  <c:v>3304</c:v>
                </c:pt>
                <c:pt idx="20">
                  <c:v>4005</c:v>
                </c:pt>
                <c:pt idx="21">
                  <c:v>4328</c:v>
                </c:pt>
                <c:pt idx="22">
                  <c:v>4533</c:v>
                </c:pt>
                <c:pt idx="23">
                  <c:v>4356</c:v>
                </c:pt>
                <c:pt idx="24">
                  <c:v>4783</c:v>
                </c:pt>
                <c:pt idx="25">
                  <c:v>4509</c:v>
                </c:pt>
                <c:pt idx="26">
                  <c:v>4622</c:v>
                </c:pt>
                <c:pt idx="27">
                  <c:v>4877</c:v>
                </c:pt>
                <c:pt idx="28">
                  <c:v>4966</c:v>
                </c:pt>
                <c:pt idx="29">
                  <c:v>5045</c:v>
                </c:pt>
                <c:pt idx="30">
                  <c:v>5151</c:v>
                </c:pt>
                <c:pt idx="31">
                  <c:v>5202</c:v>
                </c:pt>
                <c:pt idx="32">
                  <c:v>5709</c:v>
                </c:pt>
                <c:pt idx="33">
                  <c:v>5340</c:v>
                </c:pt>
                <c:pt idx="34">
                  <c:v>5094</c:v>
                </c:pt>
                <c:pt idx="35">
                  <c:v>4971</c:v>
                </c:pt>
                <c:pt idx="36">
                  <c:v>5324</c:v>
                </c:pt>
                <c:pt idx="37">
                  <c:v>5064</c:v>
                </c:pt>
                <c:pt idx="38">
                  <c:v>5164</c:v>
                </c:pt>
                <c:pt idx="39">
                  <c:v>5525</c:v>
                </c:pt>
                <c:pt idx="40">
                  <c:v>5695</c:v>
                </c:pt>
                <c:pt idx="41">
                  <c:v>5681</c:v>
                </c:pt>
                <c:pt idx="42">
                  <c:v>5032</c:v>
                </c:pt>
                <c:pt idx="43">
                  <c:v>5829</c:v>
                </c:pt>
                <c:pt idx="44">
                  <c:v>5865</c:v>
                </c:pt>
                <c:pt idx="45">
                  <c:v>5724</c:v>
                </c:pt>
                <c:pt idx="46">
                  <c:v>5072</c:v>
                </c:pt>
                <c:pt idx="47">
                  <c:v>5393</c:v>
                </c:pt>
                <c:pt idx="48">
                  <c:v>5595</c:v>
                </c:pt>
                <c:pt idx="49">
                  <c:v>3291</c:v>
                </c:pt>
                <c:pt idx="50">
                  <c:v>1821</c:v>
                </c:pt>
                <c:pt idx="51">
                  <c:v>1097</c:v>
                </c:pt>
                <c:pt idx="52">
                  <c:v>857</c:v>
                </c:pt>
                <c:pt idx="53">
                  <c:v>859</c:v>
                </c:pt>
                <c:pt idx="54">
                  <c:v>373</c:v>
                </c:pt>
                <c:pt idx="55">
                  <c:v>199</c:v>
                </c:pt>
                <c:pt idx="56">
                  <c:v>169</c:v>
                </c:pt>
                <c:pt idx="57">
                  <c:v>95</c:v>
                </c:pt>
                <c:pt idx="58">
                  <c:v>155</c:v>
                </c:pt>
                <c:pt idx="59">
                  <c:v>188</c:v>
                </c:pt>
                <c:pt idx="60">
                  <c:v>228</c:v>
                </c:pt>
                <c:pt idx="61">
                  <c:v>224</c:v>
                </c:pt>
                <c:pt idx="62">
                  <c:v>204</c:v>
                </c:pt>
                <c:pt idx="63">
                  <c:v>88</c:v>
                </c:pt>
                <c:pt idx="64">
                  <c:v>218</c:v>
                </c:pt>
                <c:pt idx="65">
                  <c:v>65</c:v>
                </c:pt>
                <c:pt idx="66">
                  <c:v>113</c:v>
                </c:pt>
                <c:pt idx="67">
                  <c:v>94</c:v>
                </c:pt>
                <c:pt idx="68">
                  <c:v>68</c:v>
                </c:pt>
                <c:pt idx="69">
                  <c:v>139</c:v>
                </c:pt>
                <c:pt idx="70">
                  <c:v>35</c:v>
                </c:pt>
                <c:pt idx="71">
                  <c:v>37</c:v>
                </c:pt>
                <c:pt idx="72">
                  <c:v>92</c:v>
                </c:pt>
                <c:pt idx="73">
                  <c:v>65</c:v>
                </c:pt>
                <c:pt idx="74">
                  <c:v>87</c:v>
                </c:pt>
                <c:pt idx="75">
                  <c:v>66</c:v>
                </c:pt>
                <c:pt idx="76">
                  <c:v>50</c:v>
                </c:pt>
                <c:pt idx="77">
                  <c:v>57</c:v>
                </c:pt>
                <c:pt idx="78">
                  <c:v>19</c:v>
                </c:pt>
                <c:pt idx="79">
                  <c:v>24</c:v>
                </c:pt>
                <c:pt idx="80">
                  <c:v>25</c:v>
                </c:pt>
                <c:pt idx="81">
                  <c:v>13</c:v>
                </c:pt>
                <c:pt idx="82">
                  <c:v>22</c:v>
                </c:pt>
                <c:pt idx="83">
                  <c:v>40</c:v>
                </c:pt>
                <c:pt idx="84">
                  <c:v>7</c:v>
                </c:pt>
                <c:pt idx="85">
                  <c:v>54</c:v>
                </c:pt>
                <c:pt idx="86">
                  <c:v>8</c:v>
                </c:pt>
                <c:pt idx="87">
                  <c:v>62</c:v>
                </c:pt>
                <c:pt idx="88">
                  <c:v>40</c:v>
                </c:pt>
                <c:pt idx="89">
                  <c:v>7</c:v>
                </c:pt>
                <c:pt idx="90">
                  <c:v>22</c:v>
                </c:pt>
                <c:pt idx="91">
                  <c:v>2</c:v>
                </c:pt>
                <c:pt idx="92">
                  <c:v>0</c:v>
                </c:pt>
                <c:pt idx="93">
                  <c:v>26</c:v>
                </c:pt>
                <c:pt idx="94">
                  <c:v>12</c:v>
                </c:pt>
                <c:pt idx="95">
                  <c:v>15</c:v>
                </c:pt>
                <c:pt idx="96">
                  <c:v>6</c:v>
                </c:pt>
                <c:pt idx="97">
                  <c:v>42</c:v>
                </c:pt>
                <c:pt idx="98">
                  <c:v>8</c:v>
                </c:pt>
                <c:pt idx="99">
                  <c:v>2</c:v>
                </c:pt>
                <c:pt idx="100">
                  <c:v>46</c:v>
                </c:pt>
                <c:pt idx="101">
                  <c:v>24</c:v>
                </c:pt>
                <c:pt idx="102">
                  <c:v>50</c:v>
                </c:pt>
                <c:pt idx="103">
                  <c:v>135</c:v>
                </c:pt>
                <c:pt idx="104">
                  <c:v>296</c:v>
                </c:pt>
                <c:pt idx="105">
                  <c:v>1517</c:v>
                </c:pt>
                <c:pt idx="106">
                  <c:v>27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335</c:v>
                </c:pt>
                <c:pt idx="1">
                  <c:v>547</c:v>
                </c:pt>
                <c:pt idx="2">
                  <c:v>1108</c:v>
                </c:pt>
                <c:pt idx="3">
                  <c:v>1585</c:v>
                </c:pt>
                <c:pt idx="4">
                  <c:v>1677</c:v>
                </c:pt>
                <c:pt idx="5">
                  <c:v>2524</c:v>
                </c:pt>
                <c:pt idx="6">
                  <c:v>2484</c:v>
                </c:pt>
                <c:pt idx="7">
                  <c:v>2716</c:v>
                </c:pt>
                <c:pt idx="8">
                  <c:v>2995</c:v>
                </c:pt>
                <c:pt idx="9">
                  <c:v>2938</c:v>
                </c:pt>
                <c:pt idx="10">
                  <c:v>3017</c:v>
                </c:pt>
                <c:pt idx="11">
                  <c:v>2835</c:v>
                </c:pt>
                <c:pt idx="12">
                  <c:v>2939</c:v>
                </c:pt>
                <c:pt idx="13">
                  <c:v>3614</c:v>
                </c:pt>
                <c:pt idx="14">
                  <c:v>4018</c:v>
                </c:pt>
                <c:pt idx="15">
                  <c:v>3708</c:v>
                </c:pt>
                <c:pt idx="16">
                  <c:v>3995</c:v>
                </c:pt>
                <c:pt idx="17">
                  <c:v>4355</c:v>
                </c:pt>
                <c:pt idx="18">
                  <c:v>3904</c:v>
                </c:pt>
                <c:pt idx="19">
                  <c:v>3451</c:v>
                </c:pt>
                <c:pt idx="20">
                  <c:v>4310</c:v>
                </c:pt>
                <c:pt idx="21">
                  <c:v>4488</c:v>
                </c:pt>
                <c:pt idx="22">
                  <c:v>4831</c:v>
                </c:pt>
                <c:pt idx="23">
                  <c:v>4605</c:v>
                </c:pt>
                <c:pt idx="24">
                  <c:v>4887</c:v>
                </c:pt>
                <c:pt idx="25">
                  <c:v>4777</c:v>
                </c:pt>
                <c:pt idx="26">
                  <c:v>5059</c:v>
                </c:pt>
                <c:pt idx="27">
                  <c:v>5070</c:v>
                </c:pt>
                <c:pt idx="28">
                  <c:v>5183</c:v>
                </c:pt>
                <c:pt idx="29">
                  <c:v>5174</c:v>
                </c:pt>
                <c:pt idx="30">
                  <c:v>5287</c:v>
                </c:pt>
                <c:pt idx="31">
                  <c:v>5418</c:v>
                </c:pt>
                <c:pt idx="32">
                  <c:v>5935</c:v>
                </c:pt>
                <c:pt idx="33">
                  <c:v>5443</c:v>
                </c:pt>
                <c:pt idx="34">
                  <c:v>5231</c:v>
                </c:pt>
                <c:pt idx="35">
                  <c:v>5016</c:v>
                </c:pt>
                <c:pt idx="36">
                  <c:v>5573</c:v>
                </c:pt>
                <c:pt idx="37">
                  <c:v>5235</c:v>
                </c:pt>
                <c:pt idx="38">
                  <c:v>5334</c:v>
                </c:pt>
                <c:pt idx="39">
                  <c:v>5819</c:v>
                </c:pt>
                <c:pt idx="40">
                  <c:v>5932</c:v>
                </c:pt>
                <c:pt idx="41">
                  <c:v>5823</c:v>
                </c:pt>
                <c:pt idx="42">
                  <c:v>5272</c:v>
                </c:pt>
                <c:pt idx="43">
                  <c:v>5837</c:v>
                </c:pt>
                <c:pt idx="44">
                  <c:v>5865</c:v>
                </c:pt>
                <c:pt idx="45">
                  <c:v>5758</c:v>
                </c:pt>
                <c:pt idx="46">
                  <c:v>5072</c:v>
                </c:pt>
                <c:pt idx="47">
                  <c:v>5393</c:v>
                </c:pt>
                <c:pt idx="48">
                  <c:v>5595</c:v>
                </c:pt>
                <c:pt idx="49">
                  <c:v>5689</c:v>
                </c:pt>
                <c:pt idx="50">
                  <c:v>6454</c:v>
                </c:pt>
                <c:pt idx="51">
                  <c:v>4548</c:v>
                </c:pt>
                <c:pt idx="52">
                  <c:v>3813</c:v>
                </c:pt>
                <c:pt idx="53">
                  <c:v>6863</c:v>
                </c:pt>
                <c:pt idx="54">
                  <c:v>5065</c:v>
                </c:pt>
                <c:pt idx="55">
                  <c:v>3908</c:v>
                </c:pt>
                <c:pt idx="56">
                  <c:v>1765</c:v>
                </c:pt>
                <c:pt idx="57">
                  <c:v>1198</c:v>
                </c:pt>
                <c:pt idx="58">
                  <c:v>724</c:v>
                </c:pt>
                <c:pt idx="59">
                  <c:v>728</c:v>
                </c:pt>
                <c:pt idx="60">
                  <c:v>703</c:v>
                </c:pt>
                <c:pt idx="61">
                  <c:v>360</c:v>
                </c:pt>
                <c:pt idx="62">
                  <c:v>337</c:v>
                </c:pt>
                <c:pt idx="63">
                  <c:v>226</c:v>
                </c:pt>
                <c:pt idx="64">
                  <c:v>284</c:v>
                </c:pt>
                <c:pt idx="65">
                  <c:v>75</c:v>
                </c:pt>
                <c:pt idx="66">
                  <c:v>140</c:v>
                </c:pt>
                <c:pt idx="67">
                  <c:v>117</c:v>
                </c:pt>
                <c:pt idx="68">
                  <c:v>109</c:v>
                </c:pt>
                <c:pt idx="69">
                  <c:v>144</c:v>
                </c:pt>
                <c:pt idx="70">
                  <c:v>38</c:v>
                </c:pt>
                <c:pt idx="71">
                  <c:v>59</c:v>
                </c:pt>
                <c:pt idx="72">
                  <c:v>158</c:v>
                </c:pt>
                <c:pt idx="73">
                  <c:v>65</c:v>
                </c:pt>
                <c:pt idx="74">
                  <c:v>87</c:v>
                </c:pt>
                <c:pt idx="75">
                  <c:v>104</c:v>
                </c:pt>
                <c:pt idx="76">
                  <c:v>58</c:v>
                </c:pt>
                <c:pt idx="77">
                  <c:v>69</c:v>
                </c:pt>
                <c:pt idx="78">
                  <c:v>54</c:v>
                </c:pt>
                <c:pt idx="79">
                  <c:v>76</c:v>
                </c:pt>
                <c:pt idx="80">
                  <c:v>55</c:v>
                </c:pt>
                <c:pt idx="81">
                  <c:v>17</c:v>
                </c:pt>
                <c:pt idx="82">
                  <c:v>28</c:v>
                </c:pt>
                <c:pt idx="83">
                  <c:v>44</c:v>
                </c:pt>
                <c:pt idx="84">
                  <c:v>7</c:v>
                </c:pt>
                <c:pt idx="85">
                  <c:v>54</c:v>
                </c:pt>
                <c:pt idx="86">
                  <c:v>8</c:v>
                </c:pt>
                <c:pt idx="87">
                  <c:v>62</c:v>
                </c:pt>
                <c:pt idx="88">
                  <c:v>40</c:v>
                </c:pt>
                <c:pt idx="89">
                  <c:v>7</c:v>
                </c:pt>
                <c:pt idx="90">
                  <c:v>41</c:v>
                </c:pt>
                <c:pt idx="91">
                  <c:v>2</c:v>
                </c:pt>
                <c:pt idx="92">
                  <c:v>12</c:v>
                </c:pt>
                <c:pt idx="93">
                  <c:v>29</c:v>
                </c:pt>
                <c:pt idx="94">
                  <c:v>27</c:v>
                </c:pt>
                <c:pt idx="95">
                  <c:v>15</c:v>
                </c:pt>
                <c:pt idx="96">
                  <c:v>16</c:v>
                </c:pt>
                <c:pt idx="97">
                  <c:v>42</c:v>
                </c:pt>
                <c:pt idx="98">
                  <c:v>8</c:v>
                </c:pt>
                <c:pt idx="99">
                  <c:v>2</c:v>
                </c:pt>
                <c:pt idx="100">
                  <c:v>52</c:v>
                </c:pt>
                <c:pt idx="101">
                  <c:v>30</c:v>
                </c:pt>
                <c:pt idx="102">
                  <c:v>50</c:v>
                </c:pt>
                <c:pt idx="103">
                  <c:v>135</c:v>
                </c:pt>
                <c:pt idx="104">
                  <c:v>296</c:v>
                </c:pt>
                <c:pt idx="105">
                  <c:v>1527</c:v>
                </c:pt>
                <c:pt idx="106">
                  <c:v>27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885</c:v>
                </c:pt>
                <c:pt idx="1">
                  <c:v>1026</c:v>
                </c:pt>
                <c:pt idx="2">
                  <c:v>1336</c:v>
                </c:pt>
                <c:pt idx="3">
                  <c:v>1514</c:v>
                </c:pt>
                <c:pt idx="4">
                  <c:v>1705</c:v>
                </c:pt>
                <c:pt idx="5">
                  <c:v>2038</c:v>
                </c:pt>
                <c:pt idx="6">
                  <c:v>2401</c:v>
                </c:pt>
                <c:pt idx="7">
                  <c:v>2675</c:v>
                </c:pt>
                <c:pt idx="8">
                  <c:v>2840</c:v>
                </c:pt>
                <c:pt idx="9">
                  <c:v>3024</c:v>
                </c:pt>
                <c:pt idx="10">
                  <c:v>3122</c:v>
                </c:pt>
                <c:pt idx="11">
                  <c:v>3427</c:v>
                </c:pt>
                <c:pt idx="12">
                  <c:v>3466</c:v>
                </c:pt>
                <c:pt idx="13">
                  <c:v>3633</c:v>
                </c:pt>
                <c:pt idx="14">
                  <c:v>3844</c:v>
                </c:pt>
                <c:pt idx="15">
                  <c:v>3901</c:v>
                </c:pt>
                <c:pt idx="16">
                  <c:v>3932</c:v>
                </c:pt>
                <c:pt idx="17">
                  <c:v>4021</c:v>
                </c:pt>
                <c:pt idx="18">
                  <c:v>4127</c:v>
                </c:pt>
                <c:pt idx="19">
                  <c:v>4146</c:v>
                </c:pt>
                <c:pt idx="20">
                  <c:v>4362</c:v>
                </c:pt>
                <c:pt idx="21">
                  <c:v>4393</c:v>
                </c:pt>
                <c:pt idx="22">
                  <c:v>4532</c:v>
                </c:pt>
                <c:pt idx="23">
                  <c:v>4629</c:v>
                </c:pt>
                <c:pt idx="24">
                  <c:v>4677</c:v>
                </c:pt>
                <c:pt idx="25">
                  <c:v>4905</c:v>
                </c:pt>
                <c:pt idx="26">
                  <c:v>5013</c:v>
                </c:pt>
                <c:pt idx="27">
                  <c:v>5059</c:v>
                </c:pt>
                <c:pt idx="28">
                  <c:v>5231</c:v>
                </c:pt>
                <c:pt idx="29">
                  <c:v>5186</c:v>
                </c:pt>
                <c:pt idx="30">
                  <c:v>5361</c:v>
                </c:pt>
                <c:pt idx="31">
                  <c:v>5416</c:v>
                </c:pt>
                <c:pt idx="32">
                  <c:v>5453</c:v>
                </c:pt>
                <c:pt idx="33">
                  <c:v>5450</c:v>
                </c:pt>
                <c:pt idx="34">
                  <c:v>5338</c:v>
                </c:pt>
                <c:pt idx="35">
                  <c:v>5446</c:v>
                </c:pt>
                <c:pt idx="36">
                  <c:v>5517</c:v>
                </c:pt>
                <c:pt idx="37">
                  <c:v>5440</c:v>
                </c:pt>
                <c:pt idx="38">
                  <c:v>5514</c:v>
                </c:pt>
                <c:pt idx="39">
                  <c:v>5599</c:v>
                </c:pt>
                <c:pt idx="40">
                  <c:v>5717</c:v>
                </c:pt>
                <c:pt idx="41">
                  <c:v>5694</c:v>
                </c:pt>
                <c:pt idx="42">
                  <c:v>5721</c:v>
                </c:pt>
                <c:pt idx="43">
                  <c:v>5733</c:v>
                </c:pt>
                <c:pt idx="44">
                  <c:v>5698</c:v>
                </c:pt>
                <c:pt idx="45">
                  <c:v>5645</c:v>
                </c:pt>
                <c:pt idx="46">
                  <c:v>5624</c:v>
                </c:pt>
                <c:pt idx="47">
                  <c:v>5604</c:v>
                </c:pt>
                <c:pt idx="48">
                  <c:v>5562</c:v>
                </c:pt>
                <c:pt idx="49">
                  <c:v>5540</c:v>
                </c:pt>
                <c:pt idx="50">
                  <c:v>5411</c:v>
                </c:pt>
                <c:pt idx="51">
                  <c:v>5522</c:v>
                </c:pt>
                <c:pt idx="52">
                  <c:v>4831</c:v>
                </c:pt>
                <c:pt idx="53">
                  <c:v>5596</c:v>
                </c:pt>
                <c:pt idx="54">
                  <c:v>5596</c:v>
                </c:pt>
                <c:pt idx="55">
                  <c:v>5596</c:v>
                </c:pt>
                <c:pt idx="56">
                  <c:v>5616</c:v>
                </c:pt>
                <c:pt idx="57">
                  <c:v>5047</c:v>
                </c:pt>
                <c:pt idx="58">
                  <c:v>2506</c:v>
                </c:pt>
                <c:pt idx="59">
                  <c:v>2865</c:v>
                </c:pt>
                <c:pt idx="60">
                  <c:v>2260</c:v>
                </c:pt>
                <c:pt idx="61">
                  <c:v>848</c:v>
                </c:pt>
                <c:pt idx="62">
                  <c:v>534</c:v>
                </c:pt>
                <c:pt idx="63">
                  <c:v>491</c:v>
                </c:pt>
                <c:pt idx="64">
                  <c:v>279</c:v>
                </c:pt>
                <c:pt idx="65">
                  <c:v>182</c:v>
                </c:pt>
                <c:pt idx="66">
                  <c:v>161</c:v>
                </c:pt>
                <c:pt idx="67">
                  <c:v>149</c:v>
                </c:pt>
                <c:pt idx="68">
                  <c:v>125</c:v>
                </c:pt>
                <c:pt idx="69">
                  <c:v>103</c:v>
                </c:pt>
                <c:pt idx="70">
                  <c:v>99</c:v>
                </c:pt>
                <c:pt idx="71">
                  <c:v>63</c:v>
                </c:pt>
                <c:pt idx="72">
                  <c:v>79</c:v>
                </c:pt>
                <c:pt idx="73">
                  <c:v>82</c:v>
                </c:pt>
                <c:pt idx="74">
                  <c:v>68</c:v>
                </c:pt>
                <c:pt idx="75">
                  <c:v>64</c:v>
                </c:pt>
                <c:pt idx="76">
                  <c:v>88</c:v>
                </c:pt>
                <c:pt idx="77">
                  <c:v>59</c:v>
                </c:pt>
                <c:pt idx="78">
                  <c:v>60</c:v>
                </c:pt>
                <c:pt idx="79">
                  <c:v>43</c:v>
                </c:pt>
                <c:pt idx="80">
                  <c:v>43</c:v>
                </c:pt>
                <c:pt idx="81">
                  <c:v>40</c:v>
                </c:pt>
                <c:pt idx="82">
                  <c:v>37</c:v>
                </c:pt>
                <c:pt idx="83">
                  <c:v>49</c:v>
                </c:pt>
                <c:pt idx="84">
                  <c:v>35</c:v>
                </c:pt>
                <c:pt idx="85">
                  <c:v>37</c:v>
                </c:pt>
                <c:pt idx="86">
                  <c:v>36</c:v>
                </c:pt>
                <c:pt idx="87">
                  <c:v>37</c:v>
                </c:pt>
                <c:pt idx="88">
                  <c:v>37</c:v>
                </c:pt>
                <c:pt idx="89">
                  <c:v>39</c:v>
                </c:pt>
                <c:pt idx="90">
                  <c:v>55</c:v>
                </c:pt>
                <c:pt idx="91">
                  <c:v>4</c:v>
                </c:pt>
                <c:pt idx="92">
                  <c:v>16</c:v>
                </c:pt>
                <c:pt idx="93">
                  <c:v>30</c:v>
                </c:pt>
                <c:pt idx="94">
                  <c:v>28</c:v>
                </c:pt>
                <c:pt idx="95">
                  <c:v>47</c:v>
                </c:pt>
                <c:pt idx="96">
                  <c:v>39</c:v>
                </c:pt>
                <c:pt idx="97">
                  <c:v>51</c:v>
                </c:pt>
                <c:pt idx="98">
                  <c:v>53</c:v>
                </c:pt>
                <c:pt idx="99">
                  <c:v>54</c:v>
                </c:pt>
                <c:pt idx="100">
                  <c:v>74</c:v>
                </c:pt>
                <c:pt idx="101">
                  <c:v>105</c:v>
                </c:pt>
                <c:pt idx="102">
                  <c:v>281</c:v>
                </c:pt>
                <c:pt idx="103">
                  <c:v>622</c:v>
                </c:pt>
                <c:pt idx="104">
                  <c:v>1072</c:v>
                </c:pt>
                <c:pt idx="105">
                  <c:v>1562</c:v>
                </c:pt>
                <c:pt idx="106">
                  <c:v>201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26</c:v>
                </c:pt>
                <c:pt idx="1">
                  <c:v>0</c:v>
                </c:pt>
                <c:pt idx="2">
                  <c:v>0</c:v>
                </c:pt>
                <c:pt idx="3">
                  <c:v>0.01</c:v>
                </c:pt>
                <c:pt idx="4">
                  <c:v>0</c:v>
                </c:pt>
                <c:pt idx="5">
                  <c:v>0.05</c:v>
                </c:pt>
                <c:pt idx="6">
                  <c:v>0.13</c:v>
                </c:pt>
                <c:pt idx="7">
                  <c:v>0.13</c:v>
                </c:pt>
                <c:pt idx="8">
                  <c:v>0.05</c:v>
                </c:pt>
                <c:pt idx="9">
                  <c:v>7.0000000000000007E-2</c:v>
                </c:pt>
                <c:pt idx="10">
                  <c:v>0.11</c:v>
                </c:pt>
                <c:pt idx="11">
                  <c:v>0.1</c:v>
                </c:pt>
                <c:pt idx="12">
                  <c:v>0.1</c:v>
                </c:pt>
                <c:pt idx="13">
                  <c:v>0.09</c:v>
                </c:pt>
                <c:pt idx="14">
                  <c:v>0.05</c:v>
                </c:pt>
                <c:pt idx="15">
                  <c:v>7.0000000000000007E-2</c:v>
                </c:pt>
                <c:pt idx="16">
                  <c:v>0.06</c:v>
                </c:pt>
                <c:pt idx="17">
                  <c:v>0.09</c:v>
                </c:pt>
                <c:pt idx="18">
                  <c:v>0.08</c:v>
                </c:pt>
                <c:pt idx="19">
                  <c:v>7.0000000000000007E-2</c:v>
                </c:pt>
                <c:pt idx="20">
                  <c:v>0.11</c:v>
                </c:pt>
                <c:pt idx="21">
                  <c:v>0.06</c:v>
                </c:pt>
                <c:pt idx="22">
                  <c:v>0.1</c:v>
                </c:pt>
                <c:pt idx="23">
                  <c:v>0.09</c:v>
                </c:pt>
                <c:pt idx="24">
                  <c:v>0.05</c:v>
                </c:pt>
                <c:pt idx="25">
                  <c:v>0.09</c:v>
                </c:pt>
                <c:pt idx="26">
                  <c:v>0.12</c:v>
                </c:pt>
                <c:pt idx="27">
                  <c:v>0.06</c:v>
                </c:pt>
                <c:pt idx="28">
                  <c:v>7.0000000000000007E-2</c:v>
                </c:pt>
                <c:pt idx="29">
                  <c:v>7.0000000000000007E-2</c:v>
                </c:pt>
                <c:pt idx="30">
                  <c:v>0.04</c:v>
                </c:pt>
                <c:pt idx="31">
                  <c:v>7.0000000000000007E-2</c:v>
                </c:pt>
                <c:pt idx="32">
                  <c:v>0.06</c:v>
                </c:pt>
                <c:pt idx="33">
                  <c:v>0.03</c:v>
                </c:pt>
                <c:pt idx="34">
                  <c:v>0.03</c:v>
                </c:pt>
                <c:pt idx="35">
                  <c:v>0.03</c:v>
                </c:pt>
                <c:pt idx="36">
                  <c:v>7.0000000000000007E-2</c:v>
                </c:pt>
                <c:pt idx="37">
                  <c:v>0.05</c:v>
                </c:pt>
                <c:pt idx="38">
                  <c:v>0.06</c:v>
                </c:pt>
                <c:pt idx="39">
                  <c:v>7.0000000000000007E-2</c:v>
                </c:pt>
                <c:pt idx="40">
                  <c:v>0.06</c:v>
                </c:pt>
                <c:pt idx="41">
                  <c:v>0.05</c:v>
                </c:pt>
                <c:pt idx="42">
                  <c:v>0.06</c:v>
                </c:pt>
                <c:pt idx="43">
                  <c:v>0.01</c:v>
                </c:pt>
                <c:pt idx="44">
                  <c:v>0</c:v>
                </c:pt>
                <c:pt idx="45">
                  <c:v>0.02</c:v>
                </c:pt>
                <c:pt idx="46">
                  <c:v>0</c:v>
                </c:pt>
                <c:pt idx="47">
                  <c:v>0</c:v>
                </c:pt>
                <c:pt idx="48">
                  <c:v>0</c:v>
                </c:pt>
                <c:pt idx="49">
                  <c:v>0.47</c:v>
                </c:pt>
                <c:pt idx="50">
                  <c:v>0.76</c:v>
                </c:pt>
                <c:pt idx="51">
                  <c:v>0.76</c:v>
                </c:pt>
                <c:pt idx="52">
                  <c:v>0.81</c:v>
                </c:pt>
                <c:pt idx="53">
                  <c:v>0.9</c:v>
                </c:pt>
                <c:pt idx="54">
                  <c:v>0.94</c:v>
                </c:pt>
                <c:pt idx="55">
                  <c:v>0.97</c:v>
                </c:pt>
                <c:pt idx="56">
                  <c:v>0.94</c:v>
                </c:pt>
                <c:pt idx="57">
                  <c:v>0.95</c:v>
                </c:pt>
                <c:pt idx="58">
                  <c:v>0.83</c:v>
                </c:pt>
                <c:pt idx="59">
                  <c:v>0.81</c:v>
                </c:pt>
                <c:pt idx="60">
                  <c:v>0.72</c:v>
                </c:pt>
                <c:pt idx="61">
                  <c:v>0.43</c:v>
                </c:pt>
                <c:pt idx="62">
                  <c:v>0.42</c:v>
                </c:pt>
                <c:pt idx="63">
                  <c:v>0.71</c:v>
                </c:pt>
                <c:pt idx="64">
                  <c:v>0.37</c:v>
                </c:pt>
                <c:pt idx="65">
                  <c:v>0.18</c:v>
                </c:pt>
                <c:pt idx="66">
                  <c:v>0.2</c:v>
                </c:pt>
                <c:pt idx="67">
                  <c:v>0.19</c:v>
                </c:pt>
                <c:pt idx="68">
                  <c:v>0.48</c:v>
                </c:pt>
                <c:pt idx="69">
                  <c:v>0.1</c:v>
                </c:pt>
                <c:pt idx="70">
                  <c:v>0.1</c:v>
                </c:pt>
                <c:pt idx="71">
                  <c:v>0.38</c:v>
                </c:pt>
                <c:pt idx="72">
                  <c:v>0.48</c:v>
                </c:pt>
                <c:pt idx="73">
                  <c:v>0</c:v>
                </c:pt>
                <c:pt idx="74">
                  <c:v>0</c:v>
                </c:pt>
                <c:pt idx="75">
                  <c:v>0.56000000000000005</c:v>
                </c:pt>
                <c:pt idx="76">
                  <c:v>0.22</c:v>
                </c:pt>
                <c:pt idx="77">
                  <c:v>0.27</c:v>
                </c:pt>
                <c:pt idx="78">
                  <c:v>0.67</c:v>
                </c:pt>
                <c:pt idx="79">
                  <c:v>0.83</c:v>
                </c:pt>
                <c:pt idx="80">
                  <c:v>0.79</c:v>
                </c:pt>
                <c:pt idx="81">
                  <c:v>0.33</c:v>
                </c:pt>
                <c:pt idx="82">
                  <c:v>0.25</c:v>
                </c:pt>
                <c:pt idx="83">
                  <c:v>0.28999999999999998</c:v>
                </c:pt>
                <c:pt idx="84">
                  <c:v>0</c:v>
                </c:pt>
                <c:pt idx="85">
                  <c:v>0</c:v>
                </c:pt>
                <c:pt idx="86">
                  <c:v>0</c:v>
                </c:pt>
                <c:pt idx="87">
                  <c:v>0</c:v>
                </c:pt>
                <c:pt idx="88">
                  <c:v>0</c:v>
                </c:pt>
                <c:pt idx="89">
                  <c:v>0</c:v>
                </c:pt>
                <c:pt idx="90">
                  <c:v>0.67</c:v>
                </c:pt>
                <c:pt idx="91">
                  <c:v>0</c:v>
                </c:pt>
                <c:pt idx="92">
                  <c:v>1</c:v>
                </c:pt>
                <c:pt idx="93">
                  <c:v>0.2</c:v>
                </c:pt>
                <c:pt idx="94">
                  <c:v>0.75</c:v>
                </c:pt>
                <c:pt idx="95">
                  <c:v>0</c:v>
                </c:pt>
                <c:pt idx="96">
                  <c:v>0.67</c:v>
                </c:pt>
                <c:pt idx="97">
                  <c:v>0</c:v>
                </c:pt>
                <c:pt idx="98">
                  <c:v>0</c:v>
                </c:pt>
                <c:pt idx="99">
                  <c:v>0</c:v>
                </c:pt>
                <c:pt idx="100">
                  <c:v>0.2</c:v>
                </c:pt>
                <c:pt idx="101">
                  <c:v>0.5</c:v>
                </c:pt>
                <c:pt idx="102">
                  <c:v>0</c:v>
                </c:pt>
                <c:pt idx="103">
                  <c:v>0</c:v>
                </c:pt>
                <c:pt idx="104">
                  <c:v>0</c:v>
                </c:pt>
                <c:pt idx="105">
                  <c:v>0.02</c:v>
                </c:pt>
                <c:pt idx="106">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0-2A09-4FFC-9D4D-9CC3F6B2DEDD}"/>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275</c:v>
                </c:pt>
                <c:pt idx="39">
                  <c:v>9580</c:v>
                </c:pt>
                <c:pt idx="40">
                  <c:v>7685</c:v>
                </c:pt>
                <c:pt idx="41">
                  <c:v>83775</c:v>
                </c:pt>
                <c:pt idx="42">
                  <c:v>103745</c:v>
                </c:pt>
                <c:pt idx="43">
                  <c:v>86010</c:v>
                </c:pt>
                <c:pt idx="44">
                  <c:v>375390</c:v>
                </c:pt>
                <c:pt idx="45">
                  <c:v>352690</c:v>
                </c:pt>
                <c:pt idx="46">
                  <c:v>311690</c:v>
                </c:pt>
                <c:pt idx="47">
                  <c:v>90585</c:v>
                </c:pt>
                <c:pt idx="48">
                  <c:v>74385</c:v>
                </c:pt>
                <c:pt idx="49">
                  <c:v>75465</c:v>
                </c:pt>
                <c:pt idx="50">
                  <c:v>136740</c:v>
                </c:pt>
                <c:pt idx="51">
                  <c:v>279025</c:v>
                </c:pt>
                <c:pt idx="52">
                  <c:v>374830</c:v>
                </c:pt>
                <c:pt idx="53">
                  <c:v>417605</c:v>
                </c:pt>
                <c:pt idx="54">
                  <c:v>380750</c:v>
                </c:pt>
                <c:pt idx="55">
                  <c:v>313225</c:v>
                </c:pt>
                <c:pt idx="56">
                  <c:v>22670</c:v>
                </c:pt>
                <c:pt idx="57">
                  <c:v>23190</c:v>
                </c:pt>
                <c:pt idx="58">
                  <c:v>19260</c:v>
                </c:pt>
                <c:pt idx="59">
                  <c:v>23280</c:v>
                </c:pt>
                <c:pt idx="60">
                  <c:v>70145</c:v>
                </c:pt>
                <c:pt idx="61">
                  <c:v>90260</c:v>
                </c:pt>
                <c:pt idx="62">
                  <c:v>65280</c:v>
                </c:pt>
                <c:pt idx="63">
                  <c:v>24365</c:v>
                </c:pt>
                <c:pt idx="64">
                  <c:v>10500</c:v>
                </c:pt>
                <c:pt idx="65">
                  <c:v>86360</c:v>
                </c:pt>
                <c:pt idx="66">
                  <c:v>200880</c:v>
                </c:pt>
                <c:pt idx="67">
                  <c:v>188065</c:v>
                </c:pt>
                <c:pt idx="68">
                  <c:v>104430</c:v>
                </c:pt>
                <c:pt idx="69">
                  <c:v>54480</c:v>
                </c:pt>
                <c:pt idx="70">
                  <c:v>37470</c:v>
                </c:pt>
                <c:pt idx="71">
                  <c:v>63420</c:v>
                </c:pt>
                <c:pt idx="72">
                  <c:v>56850</c:v>
                </c:pt>
                <c:pt idx="73">
                  <c:v>213700</c:v>
                </c:pt>
                <c:pt idx="74">
                  <c:v>288130</c:v>
                </c:pt>
                <c:pt idx="75">
                  <c:v>286385</c:v>
                </c:pt>
                <c:pt idx="76">
                  <c:v>280445</c:v>
                </c:pt>
                <c:pt idx="77">
                  <c:v>278165</c:v>
                </c:pt>
                <c:pt idx="78">
                  <c:v>257200</c:v>
                </c:pt>
                <c:pt idx="79">
                  <c:v>26585</c:v>
                </c:pt>
                <c:pt idx="80">
                  <c:v>1260</c:v>
                </c:pt>
                <c:pt idx="81">
                  <c:v>1500</c:v>
                </c:pt>
                <c:pt idx="82">
                  <c:v>53250</c:v>
                </c:pt>
                <c:pt idx="83">
                  <c:v>66230</c:v>
                </c:pt>
                <c:pt idx="84">
                  <c:v>77510</c:v>
                </c:pt>
                <c:pt idx="85">
                  <c:v>63095</c:v>
                </c:pt>
                <c:pt idx="86">
                  <c:v>13520</c:v>
                </c:pt>
                <c:pt idx="87">
                  <c:v>14580</c:v>
                </c:pt>
                <c:pt idx="88">
                  <c:v>13440</c:v>
                </c:pt>
                <c:pt idx="89">
                  <c:v>14505</c:v>
                </c:pt>
                <c:pt idx="90">
                  <c:v>15360</c:v>
                </c:pt>
                <c:pt idx="91">
                  <c:v>1300</c:v>
                </c:pt>
                <c:pt idx="92">
                  <c:v>910</c:v>
                </c:pt>
                <c:pt idx="93">
                  <c:v>53165</c:v>
                </c:pt>
                <c:pt idx="94">
                  <c:v>68325</c:v>
                </c:pt>
                <c:pt idx="95">
                  <c:v>285870</c:v>
                </c:pt>
                <c:pt idx="96">
                  <c:v>313980</c:v>
                </c:pt>
                <c:pt idx="97">
                  <c:v>296770</c:v>
                </c:pt>
                <c:pt idx="98">
                  <c:v>289345</c:v>
                </c:pt>
                <c:pt idx="99">
                  <c:v>266660</c:v>
                </c:pt>
                <c:pt idx="100">
                  <c:v>205270</c:v>
                </c:pt>
                <c:pt idx="101">
                  <c:v>58290</c:v>
                </c:pt>
                <c:pt idx="102">
                  <c:v>84180</c:v>
                </c:pt>
                <c:pt idx="103">
                  <c:v>76160</c:v>
                </c:pt>
                <c:pt idx="104">
                  <c:v>232055</c:v>
                </c:pt>
                <c:pt idx="105">
                  <c:v>404225</c:v>
                </c:pt>
                <c:pt idx="106">
                  <c:v>424985</c:v>
                </c:pt>
                <c:pt idx="107">
                  <c:v>386300</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5169698715185</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0-7F1C-42D6-AB69-34F16F98F945}"/>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0-4E00-47D8-B98F-F888755F1F0E}"/>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0</c:v>
                </c:pt>
                <c:pt idx="101">
                  <c:v>5</c:v>
                </c:pt>
                <c:pt idx="102">
                  <c:v>20</c:v>
                </c:pt>
                <c:pt idx="103">
                  <c:v>10</c:v>
                </c:pt>
                <c:pt idx="104">
                  <c:v>0</c:v>
                </c:pt>
                <c:pt idx="105">
                  <c:v>5</c:v>
                </c:pt>
                <c:pt idx="106">
                  <c:v>5</c:v>
                </c:pt>
                <c:pt idx="107">
                  <c:v>0</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6057</c:v>
                </c:pt>
                <c:pt idx="1">
                  <c:v>442659</c:v>
                </c:pt>
                <c:pt idx="2">
                  <c:v>435021</c:v>
                </c:pt>
                <c:pt idx="3">
                  <c:v>418958</c:v>
                </c:pt>
                <c:pt idx="4">
                  <c:v>433072</c:v>
                </c:pt>
                <c:pt idx="5">
                  <c:v>436611</c:v>
                </c:pt>
                <c:pt idx="6">
                  <c:v>417681</c:v>
                </c:pt>
                <c:pt idx="7">
                  <c:v>421511</c:v>
                </c:pt>
                <c:pt idx="8">
                  <c:v>451128</c:v>
                </c:pt>
                <c:pt idx="9">
                  <c:v>425080</c:v>
                </c:pt>
                <c:pt idx="10">
                  <c:v>406292</c:v>
                </c:pt>
                <c:pt idx="11">
                  <c:v>413572</c:v>
                </c:pt>
                <c:pt idx="12">
                  <c:v>444633</c:v>
                </c:pt>
                <c:pt idx="13">
                  <c:v>453778</c:v>
                </c:pt>
                <c:pt idx="14">
                  <c:v>388208</c:v>
                </c:pt>
                <c:pt idx="15">
                  <c:v>434713</c:v>
                </c:pt>
                <c:pt idx="16">
                  <c:v>444538</c:v>
                </c:pt>
                <c:pt idx="17">
                  <c:v>483818</c:v>
                </c:pt>
                <c:pt idx="18">
                  <c:v>454497</c:v>
                </c:pt>
                <c:pt idx="19">
                  <c:v>450862</c:v>
                </c:pt>
                <c:pt idx="20">
                  <c:v>480885</c:v>
                </c:pt>
                <c:pt idx="21">
                  <c:v>500228</c:v>
                </c:pt>
                <c:pt idx="22">
                  <c:v>508566</c:v>
                </c:pt>
                <c:pt idx="23">
                  <c:v>491944</c:v>
                </c:pt>
                <c:pt idx="24">
                  <c:v>479619</c:v>
                </c:pt>
                <c:pt idx="25">
                  <c:v>495654</c:v>
                </c:pt>
                <c:pt idx="26">
                  <c:v>513730</c:v>
                </c:pt>
                <c:pt idx="27">
                  <c:v>452115</c:v>
                </c:pt>
                <c:pt idx="28">
                  <c:v>427538</c:v>
                </c:pt>
                <c:pt idx="29">
                  <c:v>465378</c:v>
                </c:pt>
                <c:pt idx="30">
                  <c:v>509075</c:v>
                </c:pt>
                <c:pt idx="31">
                  <c:v>337795</c:v>
                </c:pt>
                <c:pt idx="32">
                  <c:v>122581</c:v>
                </c:pt>
                <c:pt idx="33">
                  <c:v>104402</c:v>
                </c:pt>
                <c:pt idx="34">
                  <c:v>103453</c:v>
                </c:pt>
                <c:pt idx="35">
                  <c:v>110014</c:v>
                </c:pt>
                <c:pt idx="36">
                  <c:v>106970</c:v>
                </c:pt>
                <c:pt idx="37">
                  <c:v>107095</c:v>
                </c:pt>
                <c:pt idx="38">
                  <c:v>109487</c:v>
                </c:pt>
                <c:pt idx="39">
                  <c:v>114742</c:v>
                </c:pt>
                <c:pt idx="40">
                  <c:v>106748</c:v>
                </c:pt>
                <c:pt idx="41">
                  <c:v>109020</c:v>
                </c:pt>
                <c:pt idx="42">
                  <c:v>111062</c:v>
                </c:pt>
                <c:pt idx="43">
                  <c:v>499409</c:v>
                </c:pt>
                <c:pt idx="44">
                  <c:v>495786</c:v>
                </c:pt>
                <c:pt idx="45">
                  <c:v>451024</c:v>
                </c:pt>
                <c:pt idx="46">
                  <c:v>412809</c:v>
                </c:pt>
                <c:pt idx="47">
                  <c:v>450147</c:v>
                </c:pt>
                <c:pt idx="48">
                  <c:v>450957</c:v>
                </c:pt>
                <c:pt idx="49">
                  <c:v>460031</c:v>
                </c:pt>
                <c:pt idx="50">
                  <c:v>498974</c:v>
                </c:pt>
                <c:pt idx="51">
                  <c:v>379504</c:v>
                </c:pt>
                <c:pt idx="52">
                  <c:v>432751</c:v>
                </c:pt>
                <c:pt idx="53">
                  <c:v>382857</c:v>
                </c:pt>
                <c:pt idx="54">
                  <c:v>402662</c:v>
                </c:pt>
                <c:pt idx="55">
                  <c:v>437665</c:v>
                </c:pt>
                <c:pt idx="56">
                  <c:v>445577</c:v>
                </c:pt>
                <c:pt idx="57">
                  <c:v>435703</c:v>
                </c:pt>
                <c:pt idx="58">
                  <c:v>369956</c:v>
                </c:pt>
                <c:pt idx="59">
                  <c:v>345109</c:v>
                </c:pt>
                <c:pt idx="60">
                  <c:v>400243</c:v>
                </c:pt>
                <c:pt idx="61">
                  <c:v>431477</c:v>
                </c:pt>
                <c:pt idx="62">
                  <c:v>413684</c:v>
                </c:pt>
                <c:pt idx="63">
                  <c:v>343963</c:v>
                </c:pt>
                <c:pt idx="64">
                  <c:v>378356</c:v>
                </c:pt>
                <c:pt idx="65">
                  <c:v>376953</c:v>
                </c:pt>
                <c:pt idx="66">
                  <c:v>357645</c:v>
                </c:pt>
                <c:pt idx="67">
                  <c:v>350505</c:v>
                </c:pt>
                <c:pt idx="68">
                  <c:v>358441</c:v>
                </c:pt>
                <c:pt idx="69">
                  <c:v>380820</c:v>
                </c:pt>
                <c:pt idx="70">
                  <c:v>383764</c:v>
                </c:pt>
                <c:pt idx="71">
                  <c:v>354351</c:v>
                </c:pt>
                <c:pt idx="72">
                  <c:v>389579</c:v>
                </c:pt>
                <c:pt idx="73">
                  <c:v>457551</c:v>
                </c:pt>
                <c:pt idx="74">
                  <c:v>496556</c:v>
                </c:pt>
                <c:pt idx="75">
                  <c:v>461523</c:v>
                </c:pt>
                <c:pt idx="76">
                  <c:v>462623</c:v>
                </c:pt>
                <c:pt idx="77">
                  <c:v>461025</c:v>
                </c:pt>
                <c:pt idx="78">
                  <c:v>497459</c:v>
                </c:pt>
                <c:pt idx="79">
                  <c:v>450347</c:v>
                </c:pt>
                <c:pt idx="80">
                  <c:v>440161</c:v>
                </c:pt>
                <c:pt idx="81">
                  <c:v>434008</c:v>
                </c:pt>
                <c:pt idx="82">
                  <c:v>454367</c:v>
                </c:pt>
                <c:pt idx="83">
                  <c:v>461400</c:v>
                </c:pt>
                <c:pt idx="84">
                  <c:v>457344</c:v>
                </c:pt>
                <c:pt idx="85">
                  <c:v>453510</c:v>
                </c:pt>
                <c:pt idx="86">
                  <c:v>451003</c:v>
                </c:pt>
                <c:pt idx="87">
                  <c:v>462931</c:v>
                </c:pt>
                <c:pt idx="88">
                  <c:v>432425</c:v>
                </c:pt>
                <c:pt idx="89">
                  <c:v>432253</c:v>
                </c:pt>
                <c:pt idx="90">
                  <c:v>413381</c:v>
                </c:pt>
                <c:pt idx="91">
                  <c:v>448850</c:v>
                </c:pt>
                <c:pt idx="92">
                  <c:v>347988</c:v>
                </c:pt>
                <c:pt idx="93">
                  <c:v>342622</c:v>
                </c:pt>
                <c:pt idx="94">
                  <c:v>380486</c:v>
                </c:pt>
                <c:pt idx="95">
                  <c:v>436497</c:v>
                </c:pt>
                <c:pt idx="96">
                  <c:v>450677</c:v>
                </c:pt>
                <c:pt idx="97">
                  <c:v>408292</c:v>
                </c:pt>
                <c:pt idx="98">
                  <c:v>353364</c:v>
                </c:pt>
                <c:pt idx="99">
                  <c:v>287673</c:v>
                </c:pt>
                <c:pt idx="100">
                  <c:v>303099</c:v>
                </c:pt>
                <c:pt idx="101">
                  <c:v>346763</c:v>
                </c:pt>
                <c:pt idx="102">
                  <c:v>395538</c:v>
                </c:pt>
                <c:pt idx="103">
                  <c:v>339252</c:v>
                </c:pt>
                <c:pt idx="104">
                  <c:v>358046</c:v>
                </c:pt>
                <c:pt idx="105">
                  <c:v>337519</c:v>
                </c:pt>
                <c:pt idx="106">
                  <c:v>356182</c:v>
                </c:pt>
                <c:pt idx="107">
                  <c:v>320935</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2239</c:v>
                </c:pt>
                <c:pt idx="1">
                  <c:v>80758</c:v>
                </c:pt>
                <c:pt idx="2">
                  <c:v>82044</c:v>
                </c:pt>
                <c:pt idx="3">
                  <c:v>54816</c:v>
                </c:pt>
                <c:pt idx="4">
                  <c:v>44755</c:v>
                </c:pt>
                <c:pt idx="5">
                  <c:v>53094</c:v>
                </c:pt>
                <c:pt idx="6">
                  <c:v>58282</c:v>
                </c:pt>
                <c:pt idx="7">
                  <c:v>99699</c:v>
                </c:pt>
                <c:pt idx="8">
                  <c:v>75872</c:v>
                </c:pt>
                <c:pt idx="9">
                  <c:v>70683</c:v>
                </c:pt>
                <c:pt idx="10">
                  <c:v>74763</c:v>
                </c:pt>
                <c:pt idx="11">
                  <c:v>85584</c:v>
                </c:pt>
                <c:pt idx="12">
                  <c:v>14338</c:v>
                </c:pt>
                <c:pt idx="13">
                  <c:v>48571</c:v>
                </c:pt>
                <c:pt idx="14">
                  <c:v>68032</c:v>
                </c:pt>
                <c:pt idx="15">
                  <c:v>68867</c:v>
                </c:pt>
                <c:pt idx="16">
                  <c:v>18568</c:v>
                </c:pt>
                <c:pt idx="17">
                  <c:v>5261</c:v>
                </c:pt>
                <c:pt idx="18">
                  <c:v>3553</c:v>
                </c:pt>
                <c:pt idx="19">
                  <c:v>2821</c:v>
                </c:pt>
                <c:pt idx="20">
                  <c:v>3507</c:v>
                </c:pt>
                <c:pt idx="21">
                  <c:v>2558</c:v>
                </c:pt>
                <c:pt idx="22">
                  <c:v>2209</c:v>
                </c:pt>
                <c:pt idx="23">
                  <c:v>1762</c:v>
                </c:pt>
                <c:pt idx="24">
                  <c:v>2669</c:v>
                </c:pt>
                <c:pt idx="25">
                  <c:v>3372</c:v>
                </c:pt>
                <c:pt idx="26">
                  <c:v>1228</c:v>
                </c:pt>
                <c:pt idx="27">
                  <c:v>48243</c:v>
                </c:pt>
                <c:pt idx="28">
                  <c:v>96283</c:v>
                </c:pt>
                <c:pt idx="29">
                  <c:v>23991</c:v>
                </c:pt>
                <c:pt idx="30">
                  <c:v>14900</c:v>
                </c:pt>
                <c:pt idx="31">
                  <c:v>180689</c:v>
                </c:pt>
                <c:pt idx="32">
                  <c:v>430624</c:v>
                </c:pt>
                <c:pt idx="33">
                  <c:v>436877</c:v>
                </c:pt>
                <c:pt idx="34">
                  <c:v>436804</c:v>
                </c:pt>
                <c:pt idx="35">
                  <c:v>429366</c:v>
                </c:pt>
                <c:pt idx="36">
                  <c:v>407868</c:v>
                </c:pt>
                <c:pt idx="37">
                  <c:v>397975</c:v>
                </c:pt>
                <c:pt idx="38">
                  <c:v>398977</c:v>
                </c:pt>
                <c:pt idx="39">
                  <c:v>424678</c:v>
                </c:pt>
                <c:pt idx="40">
                  <c:v>440855</c:v>
                </c:pt>
                <c:pt idx="41">
                  <c:v>434826</c:v>
                </c:pt>
                <c:pt idx="42">
                  <c:v>413473</c:v>
                </c:pt>
                <c:pt idx="43">
                  <c:v>47036</c:v>
                </c:pt>
                <c:pt idx="44">
                  <c:v>43815</c:v>
                </c:pt>
                <c:pt idx="45">
                  <c:v>54121</c:v>
                </c:pt>
                <c:pt idx="46">
                  <c:v>83431</c:v>
                </c:pt>
                <c:pt idx="47">
                  <c:v>94523</c:v>
                </c:pt>
                <c:pt idx="48">
                  <c:v>154534</c:v>
                </c:pt>
                <c:pt idx="49">
                  <c:v>183883</c:v>
                </c:pt>
                <c:pt idx="50">
                  <c:v>308309</c:v>
                </c:pt>
                <c:pt idx="51">
                  <c:v>565784</c:v>
                </c:pt>
                <c:pt idx="52">
                  <c:v>46192</c:v>
                </c:pt>
                <c:pt idx="53">
                  <c:v>48478</c:v>
                </c:pt>
                <c:pt idx="54">
                  <c:v>27801</c:v>
                </c:pt>
                <c:pt idx="55">
                  <c:v>14945</c:v>
                </c:pt>
                <c:pt idx="56">
                  <c:v>23250</c:v>
                </c:pt>
                <c:pt idx="57">
                  <c:v>36615</c:v>
                </c:pt>
                <c:pt idx="58">
                  <c:v>73143</c:v>
                </c:pt>
                <c:pt idx="59">
                  <c:v>181681</c:v>
                </c:pt>
                <c:pt idx="60">
                  <c:v>95268</c:v>
                </c:pt>
                <c:pt idx="61">
                  <c:v>50965</c:v>
                </c:pt>
                <c:pt idx="62">
                  <c:v>39514</c:v>
                </c:pt>
                <c:pt idx="63">
                  <c:v>150345</c:v>
                </c:pt>
                <c:pt idx="64">
                  <c:v>106157</c:v>
                </c:pt>
                <c:pt idx="65">
                  <c:v>98650</c:v>
                </c:pt>
                <c:pt idx="66">
                  <c:v>103985</c:v>
                </c:pt>
                <c:pt idx="67">
                  <c:v>147148</c:v>
                </c:pt>
                <c:pt idx="68">
                  <c:v>96549</c:v>
                </c:pt>
                <c:pt idx="69">
                  <c:v>98655</c:v>
                </c:pt>
                <c:pt idx="70">
                  <c:v>88148</c:v>
                </c:pt>
                <c:pt idx="71">
                  <c:v>97637</c:v>
                </c:pt>
                <c:pt idx="72">
                  <c:v>108644</c:v>
                </c:pt>
                <c:pt idx="73">
                  <c:v>1054</c:v>
                </c:pt>
                <c:pt idx="74">
                  <c:v>1382</c:v>
                </c:pt>
                <c:pt idx="75">
                  <c:v>1474</c:v>
                </c:pt>
                <c:pt idx="76">
                  <c:v>2436</c:v>
                </c:pt>
                <c:pt idx="77">
                  <c:v>906</c:v>
                </c:pt>
                <c:pt idx="78">
                  <c:v>2026</c:v>
                </c:pt>
                <c:pt idx="79">
                  <c:v>12851</c:v>
                </c:pt>
                <c:pt idx="80">
                  <c:v>23197</c:v>
                </c:pt>
                <c:pt idx="81">
                  <c:v>23542</c:v>
                </c:pt>
                <c:pt idx="82">
                  <c:v>21764</c:v>
                </c:pt>
                <c:pt idx="83">
                  <c:v>6950</c:v>
                </c:pt>
                <c:pt idx="84">
                  <c:v>6490</c:v>
                </c:pt>
                <c:pt idx="85">
                  <c:v>1049</c:v>
                </c:pt>
                <c:pt idx="86">
                  <c:v>4642</c:v>
                </c:pt>
                <c:pt idx="87">
                  <c:v>1131</c:v>
                </c:pt>
                <c:pt idx="88">
                  <c:v>1465</c:v>
                </c:pt>
                <c:pt idx="89">
                  <c:v>1185</c:v>
                </c:pt>
                <c:pt idx="90">
                  <c:v>17283</c:v>
                </c:pt>
                <c:pt idx="91">
                  <c:v>52297</c:v>
                </c:pt>
                <c:pt idx="92">
                  <c:v>109877</c:v>
                </c:pt>
                <c:pt idx="93">
                  <c:v>141043</c:v>
                </c:pt>
                <c:pt idx="94">
                  <c:v>91803</c:v>
                </c:pt>
                <c:pt idx="95">
                  <c:v>40955</c:v>
                </c:pt>
                <c:pt idx="96">
                  <c:v>52260</c:v>
                </c:pt>
                <c:pt idx="97">
                  <c:v>87202</c:v>
                </c:pt>
                <c:pt idx="98">
                  <c:v>149154</c:v>
                </c:pt>
                <c:pt idx="99">
                  <c:v>226282</c:v>
                </c:pt>
                <c:pt idx="100">
                  <c:v>304207</c:v>
                </c:pt>
                <c:pt idx="101">
                  <c:v>288955</c:v>
                </c:pt>
                <c:pt idx="102">
                  <c:v>325250</c:v>
                </c:pt>
                <c:pt idx="103">
                  <c:v>609797</c:v>
                </c:pt>
                <c:pt idx="104">
                  <c:v>91957</c:v>
                </c:pt>
                <c:pt idx="105">
                  <c:v>75393</c:v>
                </c:pt>
                <c:pt idx="106">
                  <c:v>72457</c:v>
                </c:pt>
                <c:pt idx="107">
                  <c:v>65045</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5911</c:v>
                </c:pt>
                <c:pt idx="1">
                  <c:v>441986</c:v>
                </c:pt>
                <c:pt idx="2">
                  <c:v>434209</c:v>
                </c:pt>
                <c:pt idx="3">
                  <c:v>417587</c:v>
                </c:pt>
                <c:pt idx="4">
                  <c:v>431550</c:v>
                </c:pt>
                <c:pt idx="5">
                  <c:v>434905</c:v>
                </c:pt>
                <c:pt idx="6">
                  <c:v>416163</c:v>
                </c:pt>
                <c:pt idx="7">
                  <c:v>419733</c:v>
                </c:pt>
                <c:pt idx="8">
                  <c:v>449014</c:v>
                </c:pt>
                <c:pt idx="9">
                  <c:v>423226</c:v>
                </c:pt>
                <c:pt idx="10">
                  <c:v>404552</c:v>
                </c:pt>
                <c:pt idx="11">
                  <c:v>411834</c:v>
                </c:pt>
                <c:pt idx="12">
                  <c:v>442767</c:v>
                </c:pt>
                <c:pt idx="13">
                  <c:v>451584</c:v>
                </c:pt>
                <c:pt idx="14">
                  <c:v>385808</c:v>
                </c:pt>
                <c:pt idx="15">
                  <c:v>432512</c:v>
                </c:pt>
                <c:pt idx="16">
                  <c:v>442302</c:v>
                </c:pt>
                <c:pt idx="17">
                  <c:v>481458</c:v>
                </c:pt>
                <c:pt idx="18">
                  <c:v>452303</c:v>
                </c:pt>
                <c:pt idx="19">
                  <c:v>448738</c:v>
                </c:pt>
                <c:pt idx="20">
                  <c:v>478601</c:v>
                </c:pt>
                <c:pt idx="21">
                  <c:v>497958</c:v>
                </c:pt>
                <c:pt idx="22">
                  <c:v>506192</c:v>
                </c:pt>
                <c:pt idx="23">
                  <c:v>489588</c:v>
                </c:pt>
                <c:pt idx="24">
                  <c:v>477075</c:v>
                </c:pt>
                <c:pt idx="25">
                  <c:v>493300</c:v>
                </c:pt>
                <c:pt idx="26">
                  <c:v>511282</c:v>
                </c:pt>
                <c:pt idx="27">
                  <c:v>449689</c:v>
                </c:pt>
                <c:pt idx="28">
                  <c:v>424994</c:v>
                </c:pt>
                <c:pt idx="29">
                  <c:v>462940</c:v>
                </c:pt>
                <c:pt idx="30">
                  <c:v>506441</c:v>
                </c:pt>
                <c:pt idx="31">
                  <c:v>335267</c:v>
                </c:pt>
                <c:pt idx="32">
                  <c:v>119831</c:v>
                </c:pt>
                <c:pt idx="33">
                  <c:v>101776</c:v>
                </c:pt>
                <c:pt idx="34">
                  <c:v>100955</c:v>
                </c:pt>
                <c:pt idx="35">
                  <c:v>107664</c:v>
                </c:pt>
                <c:pt idx="36">
                  <c:v>104514</c:v>
                </c:pt>
                <c:pt idx="37">
                  <c:v>104757</c:v>
                </c:pt>
                <c:pt idx="38">
                  <c:v>107169</c:v>
                </c:pt>
                <c:pt idx="39">
                  <c:v>112322</c:v>
                </c:pt>
                <c:pt idx="40">
                  <c:v>104298</c:v>
                </c:pt>
                <c:pt idx="41">
                  <c:v>106578</c:v>
                </c:pt>
                <c:pt idx="42">
                  <c:v>108810</c:v>
                </c:pt>
                <c:pt idx="43">
                  <c:v>496957</c:v>
                </c:pt>
                <c:pt idx="44">
                  <c:v>493344</c:v>
                </c:pt>
                <c:pt idx="45">
                  <c:v>448622</c:v>
                </c:pt>
                <c:pt idx="46">
                  <c:v>410695</c:v>
                </c:pt>
                <c:pt idx="47">
                  <c:v>447917</c:v>
                </c:pt>
                <c:pt idx="48">
                  <c:v>448781</c:v>
                </c:pt>
                <c:pt idx="49">
                  <c:v>458663</c:v>
                </c:pt>
                <c:pt idx="50">
                  <c:v>497972</c:v>
                </c:pt>
                <c:pt idx="51">
                  <c:v>378868</c:v>
                </c:pt>
                <c:pt idx="52">
                  <c:v>432353</c:v>
                </c:pt>
                <c:pt idx="53">
                  <c:v>382225</c:v>
                </c:pt>
                <c:pt idx="54">
                  <c:v>402282</c:v>
                </c:pt>
                <c:pt idx="55">
                  <c:v>437517</c:v>
                </c:pt>
                <c:pt idx="56">
                  <c:v>445335</c:v>
                </c:pt>
                <c:pt idx="57">
                  <c:v>435631</c:v>
                </c:pt>
                <c:pt idx="58">
                  <c:v>369806</c:v>
                </c:pt>
                <c:pt idx="59">
                  <c:v>344945</c:v>
                </c:pt>
                <c:pt idx="60">
                  <c:v>400043</c:v>
                </c:pt>
                <c:pt idx="61">
                  <c:v>431297</c:v>
                </c:pt>
                <c:pt idx="62">
                  <c:v>413478</c:v>
                </c:pt>
                <c:pt idx="63">
                  <c:v>343873</c:v>
                </c:pt>
                <c:pt idx="64">
                  <c:v>378174</c:v>
                </c:pt>
                <c:pt idx="65">
                  <c:v>376893</c:v>
                </c:pt>
                <c:pt idx="66">
                  <c:v>357433</c:v>
                </c:pt>
                <c:pt idx="67">
                  <c:v>350317</c:v>
                </c:pt>
                <c:pt idx="68">
                  <c:v>358281</c:v>
                </c:pt>
                <c:pt idx="69">
                  <c:v>380698</c:v>
                </c:pt>
                <c:pt idx="70">
                  <c:v>383622</c:v>
                </c:pt>
                <c:pt idx="71">
                  <c:v>354303</c:v>
                </c:pt>
                <c:pt idx="72">
                  <c:v>389481</c:v>
                </c:pt>
                <c:pt idx="73">
                  <c:v>457501</c:v>
                </c:pt>
                <c:pt idx="74">
                  <c:v>496494</c:v>
                </c:pt>
                <c:pt idx="75">
                  <c:v>461475</c:v>
                </c:pt>
                <c:pt idx="76">
                  <c:v>462595</c:v>
                </c:pt>
                <c:pt idx="77">
                  <c:v>460993</c:v>
                </c:pt>
                <c:pt idx="78">
                  <c:v>497335</c:v>
                </c:pt>
                <c:pt idx="79">
                  <c:v>450335</c:v>
                </c:pt>
                <c:pt idx="80">
                  <c:v>440143</c:v>
                </c:pt>
                <c:pt idx="81">
                  <c:v>433984</c:v>
                </c:pt>
                <c:pt idx="82">
                  <c:v>454347</c:v>
                </c:pt>
                <c:pt idx="83">
                  <c:v>461380</c:v>
                </c:pt>
                <c:pt idx="84">
                  <c:v>457336</c:v>
                </c:pt>
                <c:pt idx="85">
                  <c:v>453474</c:v>
                </c:pt>
                <c:pt idx="86">
                  <c:v>450995</c:v>
                </c:pt>
                <c:pt idx="87">
                  <c:v>462887</c:v>
                </c:pt>
                <c:pt idx="88">
                  <c:v>432403</c:v>
                </c:pt>
                <c:pt idx="89">
                  <c:v>432241</c:v>
                </c:pt>
                <c:pt idx="90">
                  <c:v>413369</c:v>
                </c:pt>
                <c:pt idx="91">
                  <c:v>448846</c:v>
                </c:pt>
                <c:pt idx="92">
                  <c:v>347986</c:v>
                </c:pt>
                <c:pt idx="93">
                  <c:v>342606</c:v>
                </c:pt>
                <c:pt idx="94">
                  <c:v>380482</c:v>
                </c:pt>
                <c:pt idx="95">
                  <c:v>436493</c:v>
                </c:pt>
                <c:pt idx="96">
                  <c:v>450671</c:v>
                </c:pt>
                <c:pt idx="97">
                  <c:v>408268</c:v>
                </c:pt>
                <c:pt idx="98">
                  <c:v>353256</c:v>
                </c:pt>
                <c:pt idx="99">
                  <c:v>287669</c:v>
                </c:pt>
                <c:pt idx="100">
                  <c:v>302999</c:v>
                </c:pt>
                <c:pt idx="101">
                  <c:v>346731</c:v>
                </c:pt>
                <c:pt idx="102">
                  <c:v>395528</c:v>
                </c:pt>
                <c:pt idx="103">
                  <c:v>339216</c:v>
                </c:pt>
                <c:pt idx="104">
                  <c:v>357984</c:v>
                </c:pt>
                <c:pt idx="105">
                  <c:v>337329</c:v>
                </c:pt>
                <c:pt idx="106">
                  <c:v>355256</c:v>
                </c:pt>
                <c:pt idx="107">
                  <c:v>319339</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2185</c:v>
                </c:pt>
                <c:pt idx="1">
                  <c:v>80746</c:v>
                </c:pt>
                <c:pt idx="2">
                  <c:v>82014</c:v>
                </c:pt>
                <c:pt idx="3">
                  <c:v>54784</c:v>
                </c:pt>
                <c:pt idx="4">
                  <c:v>44745</c:v>
                </c:pt>
                <c:pt idx="5">
                  <c:v>53000</c:v>
                </c:pt>
                <c:pt idx="6">
                  <c:v>58130</c:v>
                </c:pt>
                <c:pt idx="7">
                  <c:v>99523</c:v>
                </c:pt>
                <c:pt idx="8">
                  <c:v>75798</c:v>
                </c:pt>
                <c:pt idx="9">
                  <c:v>70561</c:v>
                </c:pt>
                <c:pt idx="10">
                  <c:v>74615</c:v>
                </c:pt>
                <c:pt idx="11">
                  <c:v>85430</c:v>
                </c:pt>
                <c:pt idx="12">
                  <c:v>14154</c:v>
                </c:pt>
                <c:pt idx="13">
                  <c:v>48383</c:v>
                </c:pt>
                <c:pt idx="14">
                  <c:v>67934</c:v>
                </c:pt>
                <c:pt idx="15">
                  <c:v>68705</c:v>
                </c:pt>
                <c:pt idx="16">
                  <c:v>18432</c:v>
                </c:pt>
                <c:pt idx="17">
                  <c:v>5089</c:v>
                </c:pt>
                <c:pt idx="18">
                  <c:v>3401</c:v>
                </c:pt>
                <c:pt idx="19">
                  <c:v>2687</c:v>
                </c:pt>
                <c:pt idx="20">
                  <c:v>3307</c:v>
                </c:pt>
                <c:pt idx="21">
                  <c:v>2430</c:v>
                </c:pt>
                <c:pt idx="22">
                  <c:v>1991</c:v>
                </c:pt>
                <c:pt idx="23">
                  <c:v>1280</c:v>
                </c:pt>
                <c:pt idx="24">
                  <c:v>2517</c:v>
                </c:pt>
                <c:pt idx="25">
                  <c:v>3188</c:v>
                </c:pt>
                <c:pt idx="26">
                  <c:v>982</c:v>
                </c:pt>
                <c:pt idx="27">
                  <c:v>48095</c:v>
                </c:pt>
                <c:pt idx="28">
                  <c:v>96121</c:v>
                </c:pt>
                <c:pt idx="29">
                  <c:v>23825</c:v>
                </c:pt>
                <c:pt idx="30">
                  <c:v>14780</c:v>
                </c:pt>
                <c:pt idx="31">
                  <c:v>180545</c:v>
                </c:pt>
                <c:pt idx="32">
                  <c:v>430466</c:v>
                </c:pt>
                <c:pt idx="33">
                  <c:v>436791</c:v>
                </c:pt>
                <c:pt idx="34">
                  <c:v>436720</c:v>
                </c:pt>
                <c:pt idx="35">
                  <c:v>429262</c:v>
                </c:pt>
                <c:pt idx="36">
                  <c:v>407708</c:v>
                </c:pt>
                <c:pt idx="37">
                  <c:v>397811</c:v>
                </c:pt>
                <c:pt idx="38">
                  <c:v>398843</c:v>
                </c:pt>
                <c:pt idx="39">
                  <c:v>424494</c:v>
                </c:pt>
                <c:pt idx="40">
                  <c:v>439975</c:v>
                </c:pt>
                <c:pt idx="41">
                  <c:v>433388</c:v>
                </c:pt>
                <c:pt idx="42">
                  <c:v>411825</c:v>
                </c:pt>
                <c:pt idx="43">
                  <c:v>45306</c:v>
                </c:pt>
                <c:pt idx="44">
                  <c:v>41643</c:v>
                </c:pt>
                <c:pt idx="45">
                  <c:v>51449</c:v>
                </c:pt>
                <c:pt idx="46">
                  <c:v>78405</c:v>
                </c:pt>
                <c:pt idx="47">
                  <c:v>89743</c:v>
                </c:pt>
                <c:pt idx="48">
                  <c:v>147124</c:v>
                </c:pt>
                <c:pt idx="49">
                  <c:v>171099</c:v>
                </c:pt>
                <c:pt idx="50">
                  <c:v>277219</c:v>
                </c:pt>
                <c:pt idx="51">
                  <c:v>464196</c:v>
                </c:pt>
                <c:pt idx="52">
                  <c:v>20536</c:v>
                </c:pt>
                <c:pt idx="53">
                  <c:v>41234</c:v>
                </c:pt>
                <c:pt idx="54">
                  <c:v>21881</c:v>
                </c:pt>
                <c:pt idx="55">
                  <c:v>10193</c:v>
                </c:pt>
                <c:pt idx="56">
                  <c:v>20994</c:v>
                </c:pt>
                <c:pt idx="57">
                  <c:v>35115</c:v>
                </c:pt>
                <c:pt idx="58">
                  <c:v>72353</c:v>
                </c:pt>
                <c:pt idx="59">
                  <c:v>180969</c:v>
                </c:pt>
                <c:pt idx="60">
                  <c:v>94740</c:v>
                </c:pt>
                <c:pt idx="61">
                  <c:v>50797</c:v>
                </c:pt>
                <c:pt idx="62">
                  <c:v>39350</c:v>
                </c:pt>
                <c:pt idx="63">
                  <c:v>150015</c:v>
                </c:pt>
                <c:pt idx="64">
                  <c:v>106043</c:v>
                </c:pt>
                <c:pt idx="65">
                  <c:v>98612</c:v>
                </c:pt>
                <c:pt idx="66">
                  <c:v>103937</c:v>
                </c:pt>
                <c:pt idx="67">
                  <c:v>147112</c:v>
                </c:pt>
                <c:pt idx="68">
                  <c:v>96489</c:v>
                </c:pt>
                <c:pt idx="69">
                  <c:v>98639</c:v>
                </c:pt>
                <c:pt idx="70">
                  <c:v>88122</c:v>
                </c:pt>
                <c:pt idx="71">
                  <c:v>97597</c:v>
                </c:pt>
                <c:pt idx="72">
                  <c:v>108552</c:v>
                </c:pt>
                <c:pt idx="73">
                  <c:v>1054</c:v>
                </c:pt>
                <c:pt idx="74">
                  <c:v>1382</c:v>
                </c:pt>
                <c:pt idx="75">
                  <c:v>1408</c:v>
                </c:pt>
                <c:pt idx="76">
                  <c:v>2426</c:v>
                </c:pt>
                <c:pt idx="77">
                  <c:v>892</c:v>
                </c:pt>
                <c:pt idx="78">
                  <c:v>1976</c:v>
                </c:pt>
                <c:pt idx="79">
                  <c:v>12789</c:v>
                </c:pt>
                <c:pt idx="80">
                  <c:v>23135</c:v>
                </c:pt>
                <c:pt idx="81">
                  <c:v>23432</c:v>
                </c:pt>
                <c:pt idx="82">
                  <c:v>21758</c:v>
                </c:pt>
                <c:pt idx="83">
                  <c:v>6942</c:v>
                </c:pt>
                <c:pt idx="84">
                  <c:v>6490</c:v>
                </c:pt>
                <c:pt idx="85">
                  <c:v>1049</c:v>
                </c:pt>
                <c:pt idx="86">
                  <c:v>4642</c:v>
                </c:pt>
                <c:pt idx="87">
                  <c:v>1129</c:v>
                </c:pt>
                <c:pt idx="88">
                  <c:v>1461</c:v>
                </c:pt>
                <c:pt idx="89">
                  <c:v>1183</c:v>
                </c:pt>
                <c:pt idx="90">
                  <c:v>17267</c:v>
                </c:pt>
                <c:pt idx="91">
                  <c:v>52293</c:v>
                </c:pt>
                <c:pt idx="92">
                  <c:v>109867</c:v>
                </c:pt>
                <c:pt idx="93">
                  <c:v>141039</c:v>
                </c:pt>
                <c:pt idx="94">
                  <c:v>91789</c:v>
                </c:pt>
                <c:pt idx="95">
                  <c:v>40955</c:v>
                </c:pt>
                <c:pt idx="96">
                  <c:v>52248</c:v>
                </c:pt>
                <c:pt idx="97">
                  <c:v>87200</c:v>
                </c:pt>
                <c:pt idx="98">
                  <c:v>149154</c:v>
                </c:pt>
                <c:pt idx="99">
                  <c:v>226282</c:v>
                </c:pt>
                <c:pt idx="100">
                  <c:v>304207</c:v>
                </c:pt>
                <c:pt idx="101">
                  <c:v>288847</c:v>
                </c:pt>
                <c:pt idx="102">
                  <c:v>325240</c:v>
                </c:pt>
                <c:pt idx="103">
                  <c:v>609797</c:v>
                </c:pt>
                <c:pt idx="104">
                  <c:v>91949</c:v>
                </c:pt>
                <c:pt idx="105">
                  <c:v>75389</c:v>
                </c:pt>
                <c:pt idx="106">
                  <c:v>72443</c:v>
                </c:pt>
                <c:pt idx="107">
                  <c:v>6503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83294</c:v>
                </c:pt>
                <c:pt idx="1">
                  <c:v>894944</c:v>
                </c:pt>
                <c:pt idx="2">
                  <c:v>911854</c:v>
                </c:pt>
                <c:pt idx="3">
                  <c:v>887858</c:v>
                </c:pt>
                <c:pt idx="4">
                  <c:v>942843</c:v>
                </c:pt>
                <c:pt idx="5">
                  <c:v>952782</c:v>
                </c:pt>
                <c:pt idx="6">
                  <c:v>902035</c:v>
                </c:pt>
                <c:pt idx="7">
                  <c:v>947146</c:v>
                </c:pt>
                <c:pt idx="8">
                  <c:v>1001615</c:v>
                </c:pt>
                <c:pt idx="9">
                  <c:v>981067</c:v>
                </c:pt>
                <c:pt idx="10">
                  <c:v>920059</c:v>
                </c:pt>
                <c:pt idx="11">
                  <c:v>905084</c:v>
                </c:pt>
                <c:pt idx="12">
                  <c:v>888212</c:v>
                </c:pt>
                <c:pt idx="13">
                  <c:v>974473</c:v>
                </c:pt>
                <c:pt idx="14">
                  <c:v>875418</c:v>
                </c:pt>
                <c:pt idx="15">
                  <c:v>929827</c:v>
                </c:pt>
                <c:pt idx="16">
                  <c:v>934088</c:v>
                </c:pt>
                <c:pt idx="17">
                  <c:v>1025071</c:v>
                </c:pt>
                <c:pt idx="18">
                  <c:v>969591</c:v>
                </c:pt>
                <c:pt idx="19">
                  <c:v>958315</c:v>
                </c:pt>
                <c:pt idx="20">
                  <c:v>984330</c:v>
                </c:pt>
                <c:pt idx="21">
                  <c:v>1042956</c:v>
                </c:pt>
                <c:pt idx="22">
                  <c:v>1060263</c:v>
                </c:pt>
                <c:pt idx="23">
                  <c:v>1014721</c:v>
                </c:pt>
                <c:pt idx="24">
                  <c:v>973551</c:v>
                </c:pt>
                <c:pt idx="25">
                  <c:v>1001173</c:v>
                </c:pt>
                <c:pt idx="26">
                  <c:v>994129</c:v>
                </c:pt>
                <c:pt idx="27">
                  <c:v>902575</c:v>
                </c:pt>
                <c:pt idx="28">
                  <c:v>925815</c:v>
                </c:pt>
                <c:pt idx="29">
                  <c:v>991622</c:v>
                </c:pt>
                <c:pt idx="30">
                  <c:v>1090041</c:v>
                </c:pt>
                <c:pt idx="31">
                  <c:v>1030135</c:v>
                </c:pt>
                <c:pt idx="32">
                  <c:v>1011531</c:v>
                </c:pt>
                <c:pt idx="33">
                  <c:v>972754</c:v>
                </c:pt>
                <c:pt idx="34">
                  <c:v>1000693</c:v>
                </c:pt>
                <c:pt idx="35">
                  <c:v>991932</c:v>
                </c:pt>
                <c:pt idx="36">
                  <c:v>936982</c:v>
                </c:pt>
                <c:pt idx="37">
                  <c:v>927883</c:v>
                </c:pt>
                <c:pt idx="38">
                  <c:v>922669</c:v>
                </c:pt>
                <c:pt idx="39">
                  <c:v>974484</c:v>
                </c:pt>
                <c:pt idx="40">
                  <c:v>927648</c:v>
                </c:pt>
                <c:pt idx="41">
                  <c:v>911977</c:v>
                </c:pt>
                <c:pt idx="42">
                  <c:v>901112</c:v>
                </c:pt>
                <c:pt idx="43">
                  <c:v>930692</c:v>
                </c:pt>
                <c:pt idx="44">
                  <c:v>920334</c:v>
                </c:pt>
                <c:pt idx="45">
                  <c:v>865169</c:v>
                </c:pt>
                <c:pt idx="46">
                  <c:v>821283</c:v>
                </c:pt>
                <c:pt idx="47">
                  <c:v>916127</c:v>
                </c:pt>
                <c:pt idx="48">
                  <c:v>981533</c:v>
                </c:pt>
                <c:pt idx="49">
                  <c:v>938639</c:v>
                </c:pt>
                <c:pt idx="50">
                  <c:v>1003778</c:v>
                </c:pt>
                <c:pt idx="51">
                  <c:v>800659</c:v>
                </c:pt>
                <c:pt idx="52">
                  <c:v>907039</c:v>
                </c:pt>
                <c:pt idx="53">
                  <c:v>859053</c:v>
                </c:pt>
                <c:pt idx="54">
                  <c:v>819752</c:v>
                </c:pt>
                <c:pt idx="55">
                  <c:v>871990</c:v>
                </c:pt>
                <c:pt idx="56">
                  <c:v>928260</c:v>
                </c:pt>
                <c:pt idx="57">
                  <c:v>907603</c:v>
                </c:pt>
                <c:pt idx="58">
                  <c:v>863715</c:v>
                </c:pt>
                <c:pt idx="59">
                  <c:v>936430</c:v>
                </c:pt>
                <c:pt idx="60">
                  <c:v>990780</c:v>
                </c:pt>
                <c:pt idx="61">
                  <c:v>987775</c:v>
                </c:pt>
                <c:pt idx="62">
                  <c:v>939722</c:v>
                </c:pt>
                <c:pt idx="63">
                  <c:v>922170</c:v>
                </c:pt>
                <c:pt idx="64">
                  <c:v>943802</c:v>
                </c:pt>
                <c:pt idx="65">
                  <c:v>916012</c:v>
                </c:pt>
                <c:pt idx="66">
                  <c:v>798917</c:v>
                </c:pt>
                <c:pt idx="67">
                  <c:v>772919</c:v>
                </c:pt>
                <c:pt idx="68">
                  <c:v>738960</c:v>
                </c:pt>
                <c:pt idx="69">
                  <c:v>792139</c:v>
                </c:pt>
                <c:pt idx="70">
                  <c:v>795848</c:v>
                </c:pt>
                <c:pt idx="71">
                  <c:v>781153</c:v>
                </c:pt>
                <c:pt idx="72">
                  <c:v>817269</c:v>
                </c:pt>
                <c:pt idx="73">
                  <c:v>811997</c:v>
                </c:pt>
                <c:pt idx="74">
                  <c:v>906209</c:v>
                </c:pt>
                <c:pt idx="75">
                  <c:v>838415</c:v>
                </c:pt>
                <c:pt idx="76">
                  <c:v>858390</c:v>
                </c:pt>
                <c:pt idx="77">
                  <c:v>1012948</c:v>
                </c:pt>
                <c:pt idx="78">
                  <c:v>1118943</c:v>
                </c:pt>
                <c:pt idx="79">
                  <c:v>1013990</c:v>
                </c:pt>
                <c:pt idx="80">
                  <c:v>1018155</c:v>
                </c:pt>
                <c:pt idx="81">
                  <c:v>985159</c:v>
                </c:pt>
                <c:pt idx="82">
                  <c:v>1046654</c:v>
                </c:pt>
                <c:pt idx="83">
                  <c:v>1031113</c:v>
                </c:pt>
                <c:pt idx="84">
                  <c:v>1007505</c:v>
                </c:pt>
                <c:pt idx="85">
                  <c:v>978595</c:v>
                </c:pt>
                <c:pt idx="86">
                  <c:v>990689</c:v>
                </c:pt>
                <c:pt idx="87">
                  <c:v>1038958</c:v>
                </c:pt>
                <c:pt idx="88">
                  <c:v>947929</c:v>
                </c:pt>
                <c:pt idx="89">
                  <c:v>946099</c:v>
                </c:pt>
                <c:pt idx="90">
                  <c:v>930181</c:v>
                </c:pt>
                <c:pt idx="91">
                  <c:v>1085978</c:v>
                </c:pt>
                <c:pt idx="92">
                  <c:v>942936</c:v>
                </c:pt>
                <c:pt idx="93">
                  <c:v>929753</c:v>
                </c:pt>
                <c:pt idx="94">
                  <c:v>910372</c:v>
                </c:pt>
                <c:pt idx="95">
                  <c:v>914508</c:v>
                </c:pt>
                <c:pt idx="96">
                  <c:v>957880</c:v>
                </c:pt>
                <c:pt idx="97">
                  <c:v>890415</c:v>
                </c:pt>
                <c:pt idx="98">
                  <c:v>895577</c:v>
                </c:pt>
                <c:pt idx="99">
                  <c:v>826631</c:v>
                </c:pt>
                <c:pt idx="100">
                  <c:v>929598</c:v>
                </c:pt>
                <c:pt idx="101">
                  <c:v>922201</c:v>
                </c:pt>
                <c:pt idx="102">
                  <c:v>940763</c:v>
                </c:pt>
                <c:pt idx="103">
                  <c:v>805062</c:v>
                </c:pt>
                <c:pt idx="104">
                  <c:v>827647</c:v>
                </c:pt>
                <c:pt idx="105">
                  <c:v>783404</c:v>
                </c:pt>
                <c:pt idx="106">
                  <c:v>829574</c:v>
                </c:pt>
                <c:pt idx="107">
                  <c:v>776082</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3046</c:v>
                </c:pt>
                <c:pt idx="1">
                  <c:v>17005</c:v>
                </c:pt>
                <c:pt idx="2">
                  <c:v>11212</c:v>
                </c:pt>
                <c:pt idx="3">
                  <c:v>5307</c:v>
                </c:pt>
                <c:pt idx="4">
                  <c:v>4215</c:v>
                </c:pt>
                <c:pt idx="5">
                  <c:v>2404</c:v>
                </c:pt>
                <c:pt idx="6">
                  <c:v>3055</c:v>
                </c:pt>
                <c:pt idx="7">
                  <c:v>3169</c:v>
                </c:pt>
                <c:pt idx="8">
                  <c:v>1953</c:v>
                </c:pt>
                <c:pt idx="9">
                  <c:v>2014</c:v>
                </c:pt>
                <c:pt idx="10">
                  <c:v>1198</c:v>
                </c:pt>
                <c:pt idx="11">
                  <c:v>2748</c:v>
                </c:pt>
                <c:pt idx="12">
                  <c:v>2361</c:v>
                </c:pt>
                <c:pt idx="13">
                  <c:v>1127</c:v>
                </c:pt>
                <c:pt idx="14">
                  <c:v>18920</c:v>
                </c:pt>
                <c:pt idx="15">
                  <c:v>20094</c:v>
                </c:pt>
                <c:pt idx="16">
                  <c:v>9375</c:v>
                </c:pt>
                <c:pt idx="17">
                  <c:v>7406</c:v>
                </c:pt>
                <c:pt idx="18">
                  <c:v>5340</c:v>
                </c:pt>
                <c:pt idx="19">
                  <c:v>3679</c:v>
                </c:pt>
                <c:pt idx="20">
                  <c:v>3698</c:v>
                </c:pt>
                <c:pt idx="21">
                  <c:v>7834</c:v>
                </c:pt>
                <c:pt idx="22">
                  <c:v>3499</c:v>
                </c:pt>
                <c:pt idx="23">
                  <c:v>3432</c:v>
                </c:pt>
                <c:pt idx="24">
                  <c:v>9276</c:v>
                </c:pt>
                <c:pt idx="25">
                  <c:v>3153</c:v>
                </c:pt>
                <c:pt idx="26">
                  <c:v>1925</c:v>
                </c:pt>
                <c:pt idx="27">
                  <c:v>2517</c:v>
                </c:pt>
                <c:pt idx="28">
                  <c:v>13233</c:v>
                </c:pt>
                <c:pt idx="29">
                  <c:v>10838</c:v>
                </c:pt>
                <c:pt idx="30">
                  <c:v>7803</c:v>
                </c:pt>
                <c:pt idx="31">
                  <c:v>6722</c:v>
                </c:pt>
                <c:pt idx="32">
                  <c:v>7934</c:v>
                </c:pt>
                <c:pt idx="33">
                  <c:v>7981</c:v>
                </c:pt>
                <c:pt idx="34">
                  <c:v>7211</c:v>
                </c:pt>
                <c:pt idx="35">
                  <c:v>7865</c:v>
                </c:pt>
                <c:pt idx="36">
                  <c:v>11100</c:v>
                </c:pt>
                <c:pt idx="37">
                  <c:v>13733</c:v>
                </c:pt>
                <c:pt idx="38">
                  <c:v>15024</c:v>
                </c:pt>
                <c:pt idx="39">
                  <c:v>14472</c:v>
                </c:pt>
                <c:pt idx="40">
                  <c:v>11562</c:v>
                </c:pt>
                <c:pt idx="41">
                  <c:v>10472</c:v>
                </c:pt>
                <c:pt idx="42">
                  <c:v>9737</c:v>
                </c:pt>
                <c:pt idx="43">
                  <c:v>8311</c:v>
                </c:pt>
                <c:pt idx="44">
                  <c:v>8439</c:v>
                </c:pt>
                <c:pt idx="45">
                  <c:v>7319</c:v>
                </c:pt>
                <c:pt idx="46">
                  <c:v>4191</c:v>
                </c:pt>
                <c:pt idx="47">
                  <c:v>3022</c:v>
                </c:pt>
                <c:pt idx="48">
                  <c:v>4391</c:v>
                </c:pt>
                <c:pt idx="49">
                  <c:v>8000</c:v>
                </c:pt>
                <c:pt idx="50">
                  <c:v>11736</c:v>
                </c:pt>
                <c:pt idx="51">
                  <c:v>7645</c:v>
                </c:pt>
                <c:pt idx="52">
                  <c:v>20146</c:v>
                </c:pt>
                <c:pt idx="53">
                  <c:v>39037</c:v>
                </c:pt>
                <c:pt idx="54">
                  <c:v>34882</c:v>
                </c:pt>
                <c:pt idx="55">
                  <c:v>35803</c:v>
                </c:pt>
                <c:pt idx="56">
                  <c:v>35106</c:v>
                </c:pt>
                <c:pt idx="57">
                  <c:v>43558</c:v>
                </c:pt>
                <c:pt idx="58">
                  <c:v>46788</c:v>
                </c:pt>
                <c:pt idx="59">
                  <c:v>29810</c:v>
                </c:pt>
                <c:pt idx="60">
                  <c:v>6107</c:v>
                </c:pt>
                <c:pt idx="61">
                  <c:v>4969</c:v>
                </c:pt>
                <c:pt idx="62">
                  <c:v>4004</c:v>
                </c:pt>
                <c:pt idx="63">
                  <c:v>7028</c:v>
                </c:pt>
                <c:pt idx="64">
                  <c:v>6685</c:v>
                </c:pt>
                <c:pt idx="65">
                  <c:v>100296</c:v>
                </c:pt>
                <c:pt idx="66">
                  <c:v>169562</c:v>
                </c:pt>
                <c:pt idx="67">
                  <c:v>174625</c:v>
                </c:pt>
                <c:pt idx="68">
                  <c:v>169767</c:v>
                </c:pt>
                <c:pt idx="69">
                  <c:v>189312</c:v>
                </c:pt>
                <c:pt idx="70">
                  <c:v>192631</c:v>
                </c:pt>
                <c:pt idx="71">
                  <c:v>190077</c:v>
                </c:pt>
                <c:pt idx="72">
                  <c:v>200202</c:v>
                </c:pt>
                <c:pt idx="73">
                  <c:v>198104</c:v>
                </c:pt>
                <c:pt idx="74">
                  <c:v>221368</c:v>
                </c:pt>
                <c:pt idx="75">
                  <c:v>203942</c:v>
                </c:pt>
                <c:pt idx="76">
                  <c:v>176322</c:v>
                </c:pt>
                <c:pt idx="77">
                  <c:v>25739</c:v>
                </c:pt>
                <c:pt idx="78">
                  <c:v>19453</c:v>
                </c:pt>
                <c:pt idx="79">
                  <c:v>19725</c:v>
                </c:pt>
                <c:pt idx="80">
                  <c:v>18298</c:v>
                </c:pt>
                <c:pt idx="81">
                  <c:v>14419</c:v>
                </c:pt>
                <c:pt idx="82">
                  <c:v>11887</c:v>
                </c:pt>
                <c:pt idx="83">
                  <c:v>12024</c:v>
                </c:pt>
                <c:pt idx="84">
                  <c:v>17675</c:v>
                </c:pt>
                <c:pt idx="85">
                  <c:v>20449</c:v>
                </c:pt>
                <c:pt idx="86">
                  <c:v>18456</c:v>
                </c:pt>
                <c:pt idx="87">
                  <c:v>11307</c:v>
                </c:pt>
                <c:pt idx="88">
                  <c:v>11625</c:v>
                </c:pt>
                <c:pt idx="89">
                  <c:v>8670</c:v>
                </c:pt>
                <c:pt idx="90">
                  <c:v>8910</c:v>
                </c:pt>
                <c:pt idx="91">
                  <c:v>11312</c:v>
                </c:pt>
                <c:pt idx="92">
                  <c:v>11317</c:v>
                </c:pt>
                <c:pt idx="93">
                  <c:v>14847</c:v>
                </c:pt>
                <c:pt idx="94">
                  <c:v>13990</c:v>
                </c:pt>
                <c:pt idx="95">
                  <c:v>12216</c:v>
                </c:pt>
                <c:pt idx="96">
                  <c:v>11640</c:v>
                </c:pt>
                <c:pt idx="97">
                  <c:v>11063</c:v>
                </c:pt>
                <c:pt idx="98">
                  <c:v>8849</c:v>
                </c:pt>
                <c:pt idx="99">
                  <c:v>6042</c:v>
                </c:pt>
                <c:pt idx="100">
                  <c:v>9490</c:v>
                </c:pt>
                <c:pt idx="101">
                  <c:v>25687</c:v>
                </c:pt>
                <c:pt idx="102">
                  <c:v>34614</c:v>
                </c:pt>
                <c:pt idx="103">
                  <c:v>24565</c:v>
                </c:pt>
                <c:pt idx="104">
                  <c:v>29584</c:v>
                </c:pt>
                <c:pt idx="105">
                  <c:v>23147</c:v>
                </c:pt>
                <c:pt idx="106">
                  <c:v>21492</c:v>
                </c:pt>
                <c:pt idx="107">
                  <c:v>18068</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2</c:v>
                </c:pt>
                <c:pt idx="1">
                  <c:v>330</c:v>
                </c:pt>
                <c:pt idx="2">
                  <c:v>778</c:v>
                </c:pt>
                <c:pt idx="3">
                  <c:v>1332</c:v>
                </c:pt>
                <c:pt idx="4">
                  <c:v>1486</c:v>
                </c:pt>
                <c:pt idx="5">
                  <c:v>1700</c:v>
                </c:pt>
                <c:pt idx="6">
                  <c:v>1514</c:v>
                </c:pt>
                <c:pt idx="7">
                  <c:v>1778</c:v>
                </c:pt>
                <c:pt idx="8">
                  <c:v>2102</c:v>
                </c:pt>
                <c:pt idx="9">
                  <c:v>1846</c:v>
                </c:pt>
                <c:pt idx="10">
                  <c:v>1734</c:v>
                </c:pt>
                <c:pt idx="11">
                  <c:v>1698</c:v>
                </c:pt>
                <c:pt idx="12">
                  <c:v>1798</c:v>
                </c:pt>
                <c:pt idx="13">
                  <c:v>2186</c:v>
                </c:pt>
                <c:pt idx="14">
                  <c:v>2396</c:v>
                </c:pt>
                <c:pt idx="15">
                  <c:v>2182</c:v>
                </c:pt>
                <c:pt idx="16">
                  <c:v>2204</c:v>
                </c:pt>
                <c:pt idx="17">
                  <c:v>2348</c:v>
                </c:pt>
                <c:pt idx="18">
                  <c:v>2186</c:v>
                </c:pt>
                <c:pt idx="19">
                  <c:v>2094</c:v>
                </c:pt>
                <c:pt idx="20">
                  <c:v>2264</c:v>
                </c:pt>
                <c:pt idx="21">
                  <c:v>2270</c:v>
                </c:pt>
                <c:pt idx="22">
                  <c:v>2370</c:v>
                </c:pt>
                <c:pt idx="23">
                  <c:v>2356</c:v>
                </c:pt>
                <c:pt idx="24">
                  <c:v>2544</c:v>
                </c:pt>
                <c:pt idx="25">
                  <c:v>2354</c:v>
                </c:pt>
                <c:pt idx="26">
                  <c:v>2448</c:v>
                </c:pt>
                <c:pt idx="27">
                  <c:v>2426</c:v>
                </c:pt>
                <c:pt idx="28">
                  <c:v>2544</c:v>
                </c:pt>
                <c:pt idx="29">
                  <c:v>2430</c:v>
                </c:pt>
                <c:pt idx="30">
                  <c:v>2634</c:v>
                </c:pt>
                <c:pt idx="31">
                  <c:v>2528</c:v>
                </c:pt>
                <c:pt idx="32">
                  <c:v>2738</c:v>
                </c:pt>
                <c:pt idx="33">
                  <c:v>2626</c:v>
                </c:pt>
                <c:pt idx="34">
                  <c:v>2488</c:v>
                </c:pt>
                <c:pt idx="35">
                  <c:v>2342</c:v>
                </c:pt>
                <c:pt idx="36">
                  <c:v>2354</c:v>
                </c:pt>
                <c:pt idx="37">
                  <c:v>2334</c:v>
                </c:pt>
                <c:pt idx="38">
                  <c:v>2318</c:v>
                </c:pt>
                <c:pt idx="39">
                  <c:v>2420</c:v>
                </c:pt>
                <c:pt idx="40">
                  <c:v>2448</c:v>
                </c:pt>
                <c:pt idx="41">
                  <c:v>2440</c:v>
                </c:pt>
                <c:pt idx="42">
                  <c:v>2252</c:v>
                </c:pt>
                <c:pt idx="43">
                  <c:v>2448</c:v>
                </c:pt>
                <c:pt idx="44">
                  <c:v>2442</c:v>
                </c:pt>
                <c:pt idx="45">
                  <c:v>2402</c:v>
                </c:pt>
                <c:pt idx="46">
                  <c:v>2106</c:v>
                </c:pt>
                <c:pt idx="47">
                  <c:v>2224</c:v>
                </c:pt>
                <c:pt idx="48">
                  <c:v>2168</c:v>
                </c:pt>
                <c:pt idx="49">
                  <c:v>1368</c:v>
                </c:pt>
                <c:pt idx="50">
                  <c:v>886</c:v>
                </c:pt>
                <c:pt idx="51">
                  <c:v>632</c:v>
                </c:pt>
                <c:pt idx="52">
                  <c:v>390</c:v>
                </c:pt>
                <c:pt idx="53">
                  <c:v>632</c:v>
                </c:pt>
                <c:pt idx="54">
                  <c:v>380</c:v>
                </c:pt>
                <c:pt idx="55">
                  <c:v>148</c:v>
                </c:pt>
                <c:pt idx="56">
                  <c:v>142</c:v>
                </c:pt>
                <c:pt idx="57">
                  <c:v>72</c:v>
                </c:pt>
                <c:pt idx="58">
                  <c:v>150</c:v>
                </c:pt>
                <c:pt idx="59">
                  <c:v>164</c:v>
                </c:pt>
                <c:pt idx="60">
                  <c:v>200</c:v>
                </c:pt>
                <c:pt idx="61">
                  <c:v>180</c:v>
                </c:pt>
                <c:pt idx="62">
                  <c:v>206</c:v>
                </c:pt>
                <c:pt idx="63">
                  <c:v>90</c:v>
                </c:pt>
                <c:pt idx="64">
                  <c:v>178</c:v>
                </c:pt>
                <c:pt idx="65">
                  <c:v>56</c:v>
                </c:pt>
                <c:pt idx="66">
                  <c:v>112</c:v>
                </c:pt>
                <c:pt idx="67">
                  <c:v>88</c:v>
                </c:pt>
                <c:pt idx="68">
                  <c:v>56</c:v>
                </c:pt>
                <c:pt idx="69">
                  <c:v>112</c:v>
                </c:pt>
                <c:pt idx="70">
                  <c:v>42</c:v>
                </c:pt>
                <c:pt idx="71">
                  <c:v>40</c:v>
                </c:pt>
                <c:pt idx="72">
                  <c:v>98</c:v>
                </c:pt>
                <c:pt idx="73">
                  <c:v>50</c:v>
                </c:pt>
                <c:pt idx="74">
                  <c:v>62</c:v>
                </c:pt>
                <c:pt idx="75">
                  <c:v>48</c:v>
                </c:pt>
                <c:pt idx="76">
                  <c:v>28</c:v>
                </c:pt>
                <c:pt idx="77">
                  <c:v>32</c:v>
                </c:pt>
                <c:pt idx="78">
                  <c:v>24</c:v>
                </c:pt>
                <c:pt idx="79">
                  <c:v>12</c:v>
                </c:pt>
                <c:pt idx="80">
                  <c:v>18</c:v>
                </c:pt>
                <c:pt idx="81">
                  <c:v>16</c:v>
                </c:pt>
                <c:pt idx="82">
                  <c:v>12</c:v>
                </c:pt>
                <c:pt idx="83">
                  <c:v>20</c:v>
                </c:pt>
                <c:pt idx="84">
                  <c:v>8</c:v>
                </c:pt>
                <c:pt idx="85">
                  <c:v>28</c:v>
                </c:pt>
                <c:pt idx="86">
                  <c:v>8</c:v>
                </c:pt>
                <c:pt idx="87">
                  <c:v>44</c:v>
                </c:pt>
                <c:pt idx="88">
                  <c:v>22</c:v>
                </c:pt>
                <c:pt idx="89">
                  <c:v>12</c:v>
                </c:pt>
                <c:pt idx="90">
                  <c:v>12</c:v>
                </c:pt>
                <c:pt idx="91">
                  <c:v>4</c:v>
                </c:pt>
                <c:pt idx="92">
                  <c:v>2</c:v>
                </c:pt>
                <c:pt idx="93">
                  <c:v>16</c:v>
                </c:pt>
                <c:pt idx="94">
                  <c:v>4</c:v>
                </c:pt>
                <c:pt idx="95">
                  <c:v>4</c:v>
                </c:pt>
                <c:pt idx="96">
                  <c:v>6</c:v>
                </c:pt>
                <c:pt idx="97">
                  <c:v>24</c:v>
                </c:pt>
                <c:pt idx="98">
                  <c:v>8</c:v>
                </c:pt>
                <c:pt idx="99">
                  <c:v>4</c:v>
                </c:pt>
                <c:pt idx="100">
                  <c:v>0</c:v>
                </c:pt>
                <c:pt idx="101">
                  <c:v>32</c:v>
                </c:pt>
                <c:pt idx="102">
                  <c:v>10</c:v>
                </c:pt>
                <c:pt idx="103">
                  <c:v>36</c:v>
                </c:pt>
                <c:pt idx="104">
                  <c:v>62</c:v>
                </c:pt>
                <c:pt idx="105">
                  <c:v>190</c:v>
                </c:pt>
                <c:pt idx="106">
                  <c:v>922</c:v>
                </c:pt>
                <c:pt idx="107">
                  <c:v>1596</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54</c:v>
                </c:pt>
                <c:pt idx="1">
                  <c:v>12</c:v>
                </c:pt>
                <c:pt idx="2">
                  <c:v>30</c:v>
                </c:pt>
                <c:pt idx="3">
                  <c:v>32</c:v>
                </c:pt>
                <c:pt idx="4">
                  <c:v>10</c:v>
                </c:pt>
                <c:pt idx="5">
                  <c:v>94</c:v>
                </c:pt>
                <c:pt idx="6">
                  <c:v>152</c:v>
                </c:pt>
                <c:pt idx="7">
                  <c:v>176</c:v>
                </c:pt>
                <c:pt idx="8">
                  <c:v>74</c:v>
                </c:pt>
                <c:pt idx="9">
                  <c:v>118</c:v>
                </c:pt>
                <c:pt idx="10">
                  <c:v>148</c:v>
                </c:pt>
                <c:pt idx="11">
                  <c:v>154</c:v>
                </c:pt>
                <c:pt idx="12">
                  <c:v>180</c:v>
                </c:pt>
                <c:pt idx="13">
                  <c:v>184</c:v>
                </c:pt>
                <c:pt idx="14">
                  <c:v>98</c:v>
                </c:pt>
                <c:pt idx="15">
                  <c:v>158</c:v>
                </c:pt>
                <c:pt idx="16">
                  <c:v>136</c:v>
                </c:pt>
                <c:pt idx="17">
                  <c:v>172</c:v>
                </c:pt>
                <c:pt idx="18">
                  <c:v>152</c:v>
                </c:pt>
                <c:pt idx="19">
                  <c:v>134</c:v>
                </c:pt>
                <c:pt idx="20">
                  <c:v>196</c:v>
                </c:pt>
                <c:pt idx="21">
                  <c:v>128</c:v>
                </c:pt>
                <c:pt idx="22">
                  <c:v>218</c:v>
                </c:pt>
                <c:pt idx="23">
                  <c:v>218</c:v>
                </c:pt>
                <c:pt idx="24">
                  <c:v>152</c:v>
                </c:pt>
                <c:pt idx="25">
                  <c:v>184</c:v>
                </c:pt>
                <c:pt idx="26">
                  <c:v>246</c:v>
                </c:pt>
                <c:pt idx="27">
                  <c:v>148</c:v>
                </c:pt>
                <c:pt idx="28">
                  <c:v>162</c:v>
                </c:pt>
                <c:pt idx="29">
                  <c:v>166</c:v>
                </c:pt>
                <c:pt idx="30">
                  <c:v>120</c:v>
                </c:pt>
                <c:pt idx="31">
                  <c:v>144</c:v>
                </c:pt>
                <c:pt idx="32">
                  <c:v>158</c:v>
                </c:pt>
                <c:pt idx="33">
                  <c:v>86</c:v>
                </c:pt>
                <c:pt idx="34">
                  <c:v>84</c:v>
                </c:pt>
                <c:pt idx="35">
                  <c:v>104</c:v>
                </c:pt>
                <c:pt idx="36">
                  <c:v>160</c:v>
                </c:pt>
                <c:pt idx="37">
                  <c:v>164</c:v>
                </c:pt>
                <c:pt idx="38">
                  <c:v>134</c:v>
                </c:pt>
                <c:pt idx="39">
                  <c:v>184</c:v>
                </c:pt>
                <c:pt idx="40">
                  <c:v>880</c:v>
                </c:pt>
                <c:pt idx="41">
                  <c:v>1438</c:v>
                </c:pt>
                <c:pt idx="42">
                  <c:v>1648</c:v>
                </c:pt>
                <c:pt idx="43">
                  <c:v>1730</c:v>
                </c:pt>
                <c:pt idx="44">
                  <c:v>2172</c:v>
                </c:pt>
                <c:pt idx="45">
                  <c:v>2672</c:v>
                </c:pt>
                <c:pt idx="46">
                  <c:v>5026</c:v>
                </c:pt>
                <c:pt idx="47">
                  <c:v>4780</c:v>
                </c:pt>
                <c:pt idx="48">
                  <c:v>7410</c:v>
                </c:pt>
                <c:pt idx="49">
                  <c:v>12784</c:v>
                </c:pt>
                <c:pt idx="50">
                  <c:v>31090</c:v>
                </c:pt>
                <c:pt idx="51">
                  <c:v>101588</c:v>
                </c:pt>
                <c:pt idx="52">
                  <c:v>25656</c:v>
                </c:pt>
                <c:pt idx="53">
                  <c:v>7244</c:v>
                </c:pt>
                <c:pt idx="54">
                  <c:v>5920</c:v>
                </c:pt>
                <c:pt idx="55">
                  <c:v>4752</c:v>
                </c:pt>
                <c:pt idx="56">
                  <c:v>2256</c:v>
                </c:pt>
                <c:pt idx="57">
                  <c:v>1500</c:v>
                </c:pt>
                <c:pt idx="58">
                  <c:v>790</c:v>
                </c:pt>
                <c:pt idx="59">
                  <c:v>712</c:v>
                </c:pt>
                <c:pt idx="60">
                  <c:v>528</c:v>
                </c:pt>
                <c:pt idx="61">
                  <c:v>168</c:v>
                </c:pt>
                <c:pt idx="62">
                  <c:v>164</c:v>
                </c:pt>
                <c:pt idx="63">
                  <c:v>330</c:v>
                </c:pt>
                <c:pt idx="64">
                  <c:v>114</c:v>
                </c:pt>
                <c:pt idx="65">
                  <c:v>38</c:v>
                </c:pt>
                <c:pt idx="66">
                  <c:v>48</c:v>
                </c:pt>
                <c:pt idx="67">
                  <c:v>36</c:v>
                </c:pt>
                <c:pt idx="68">
                  <c:v>60</c:v>
                </c:pt>
                <c:pt idx="69">
                  <c:v>16</c:v>
                </c:pt>
                <c:pt idx="70">
                  <c:v>26</c:v>
                </c:pt>
                <c:pt idx="71">
                  <c:v>40</c:v>
                </c:pt>
                <c:pt idx="72">
                  <c:v>92</c:v>
                </c:pt>
                <c:pt idx="73">
                  <c:v>0</c:v>
                </c:pt>
                <c:pt idx="74">
                  <c:v>0</c:v>
                </c:pt>
                <c:pt idx="75">
                  <c:v>66</c:v>
                </c:pt>
                <c:pt idx="76">
                  <c:v>10</c:v>
                </c:pt>
                <c:pt idx="77">
                  <c:v>14</c:v>
                </c:pt>
                <c:pt idx="78">
                  <c:v>50</c:v>
                </c:pt>
                <c:pt idx="79">
                  <c:v>62</c:v>
                </c:pt>
                <c:pt idx="80">
                  <c:v>62</c:v>
                </c:pt>
                <c:pt idx="81">
                  <c:v>10</c:v>
                </c:pt>
                <c:pt idx="82">
                  <c:v>6</c:v>
                </c:pt>
                <c:pt idx="83">
                  <c:v>8</c:v>
                </c:pt>
                <c:pt idx="84">
                  <c:v>0</c:v>
                </c:pt>
                <c:pt idx="85">
                  <c:v>0</c:v>
                </c:pt>
                <c:pt idx="86">
                  <c:v>0</c:v>
                </c:pt>
                <c:pt idx="87">
                  <c:v>2</c:v>
                </c:pt>
                <c:pt idx="88">
                  <c:v>4</c:v>
                </c:pt>
                <c:pt idx="89">
                  <c:v>2</c:v>
                </c:pt>
                <c:pt idx="90">
                  <c:v>16</c:v>
                </c:pt>
                <c:pt idx="91">
                  <c:v>4</c:v>
                </c:pt>
                <c:pt idx="92">
                  <c:v>10</c:v>
                </c:pt>
                <c:pt idx="93">
                  <c:v>4</c:v>
                </c:pt>
                <c:pt idx="94">
                  <c:v>14</c:v>
                </c:pt>
                <c:pt idx="95">
                  <c:v>0</c:v>
                </c:pt>
                <c:pt idx="96">
                  <c:v>12</c:v>
                </c:pt>
                <c:pt idx="97">
                  <c:v>2</c:v>
                </c:pt>
                <c:pt idx="98">
                  <c:v>0</c:v>
                </c:pt>
                <c:pt idx="99">
                  <c:v>0</c:v>
                </c:pt>
                <c:pt idx="100">
                  <c:v>0</c:v>
                </c:pt>
                <c:pt idx="101">
                  <c:v>8</c:v>
                </c:pt>
                <c:pt idx="102">
                  <c:v>10</c:v>
                </c:pt>
                <c:pt idx="103">
                  <c:v>0</c:v>
                </c:pt>
                <c:pt idx="104">
                  <c:v>8</c:v>
                </c:pt>
                <c:pt idx="105">
                  <c:v>4</c:v>
                </c:pt>
                <c:pt idx="106">
                  <c:v>14</c:v>
                </c:pt>
                <c:pt idx="107">
                  <c:v>1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60</c:v>
                </c:pt>
                <c:pt idx="49">
                  <c:v>379089</c:v>
                </c:pt>
                <c:pt idx="50">
                  <c:v>413936</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72</c:v>
                </c:pt>
                <c:pt idx="72">
                  <c:v>298157</c:v>
                </c:pt>
                <c:pt idx="73">
                  <c:v>359221</c:v>
                </c:pt>
                <c:pt idx="74">
                  <c:v>391713</c:v>
                </c:pt>
                <c:pt idx="75">
                  <c:v>361260</c:v>
                </c:pt>
                <c:pt idx="76">
                  <c:v>363336</c:v>
                </c:pt>
                <c:pt idx="77">
                  <c:v>361611</c:v>
                </c:pt>
                <c:pt idx="78">
                  <c:v>388894</c:v>
                </c:pt>
                <c:pt idx="79">
                  <c:v>361008</c:v>
                </c:pt>
                <c:pt idx="80">
                  <c:v>356534</c:v>
                </c:pt>
                <c:pt idx="81">
                  <c:v>354533</c:v>
                </c:pt>
                <c:pt idx="82">
                  <c:v>370461</c:v>
                </c:pt>
                <c:pt idx="83">
                  <c:v>365704</c:v>
                </c:pt>
                <c:pt idx="84">
                  <c:v>362277</c:v>
                </c:pt>
                <c:pt idx="85">
                  <c:v>355521</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2A09-4FFC-9D4D-9CC3F6B2DEDD}"/>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52</c:v>
                </c:pt>
                <c:pt idx="49">
                  <c:v>379089</c:v>
                </c:pt>
                <c:pt idx="50">
                  <c:v>413928</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64</c:v>
                </c:pt>
                <c:pt idx="72">
                  <c:v>298157</c:v>
                </c:pt>
                <c:pt idx="73">
                  <c:v>359221</c:v>
                </c:pt>
                <c:pt idx="74">
                  <c:v>391713</c:v>
                </c:pt>
                <c:pt idx="75">
                  <c:v>361260</c:v>
                </c:pt>
                <c:pt idx="76">
                  <c:v>363336</c:v>
                </c:pt>
                <c:pt idx="77">
                  <c:v>361611</c:v>
                </c:pt>
                <c:pt idx="78">
                  <c:v>388894</c:v>
                </c:pt>
                <c:pt idx="79">
                  <c:v>361008</c:v>
                </c:pt>
                <c:pt idx="80">
                  <c:v>356534</c:v>
                </c:pt>
                <c:pt idx="81">
                  <c:v>354525</c:v>
                </c:pt>
                <c:pt idx="82">
                  <c:v>370453</c:v>
                </c:pt>
                <c:pt idx="83">
                  <c:v>365704</c:v>
                </c:pt>
                <c:pt idx="84">
                  <c:v>362277</c:v>
                </c:pt>
                <c:pt idx="85">
                  <c:v>355513</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F1C-42D6-AB69-34F16F98F945}"/>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1728</c:v>
                </c:pt>
                <c:pt idx="1">
                  <c:v>833774</c:v>
                </c:pt>
                <c:pt idx="2">
                  <c:v>845152</c:v>
                </c:pt>
                <c:pt idx="3">
                  <c:v>820136</c:v>
                </c:pt>
                <c:pt idx="4">
                  <c:v>871205</c:v>
                </c:pt>
                <c:pt idx="5">
                  <c:v>883032</c:v>
                </c:pt>
                <c:pt idx="6">
                  <c:v>838691</c:v>
                </c:pt>
                <c:pt idx="7">
                  <c:v>885584</c:v>
                </c:pt>
                <c:pt idx="8">
                  <c:v>941989</c:v>
                </c:pt>
                <c:pt idx="9">
                  <c:v>924701</c:v>
                </c:pt>
                <c:pt idx="10">
                  <c:v>875805</c:v>
                </c:pt>
                <c:pt idx="11">
                  <c:v>867954</c:v>
                </c:pt>
                <c:pt idx="12">
                  <c:v>858302</c:v>
                </c:pt>
                <c:pt idx="13">
                  <c:v>948409</c:v>
                </c:pt>
                <c:pt idx="14">
                  <c:v>854430</c:v>
                </c:pt>
                <c:pt idx="15">
                  <c:v>881785</c:v>
                </c:pt>
                <c:pt idx="16">
                  <c:v>863046</c:v>
                </c:pt>
                <c:pt idx="17">
                  <c:v>944975</c:v>
                </c:pt>
                <c:pt idx="18">
                  <c:v>892579</c:v>
                </c:pt>
                <c:pt idx="19">
                  <c:v>882101</c:v>
                </c:pt>
                <c:pt idx="20">
                  <c:v>904680</c:v>
                </c:pt>
                <c:pt idx="21">
                  <c:v>958392</c:v>
                </c:pt>
                <c:pt idx="22">
                  <c:v>975643</c:v>
                </c:pt>
                <c:pt idx="23">
                  <c:v>932021</c:v>
                </c:pt>
                <c:pt idx="24">
                  <c:v>892844</c:v>
                </c:pt>
                <c:pt idx="25">
                  <c:v>916952</c:v>
                </c:pt>
                <c:pt idx="26">
                  <c:v>907521</c:v>
                </c:pt>
                <c:pt idx="27">
                  <c:v>818373</c:v>
                </c:pt>
                <c:pt idx="28">
                  <c:v>843015</c:v>
                </c:pt>
                <c:pt idx="29">
                  <c:v>910578</c:v>
                </c:pt>
                <c:pt idx="30">
                  <c:v>1000931</c:v>
                </c:pt>
                <c:pt idx="31">
                  <c:v>945773</c:v>
                </c:pt>
                <c:pt idx="32">
                  <c:v>927407</c:v>
                </c:pt>
                <c:pt idx="33">
                  <c:v>890664</c:v>
                </c:pt>
                <c:pt idx="34">
                  <c:v>916961</c:v>
                </c:pt>
                <c:pt idx="35">
                  <c:v>909542</c:v>
                </c:pt>
                <c:pt idx="36">
                  <c:v>860472</c:v>
                </c:pt>
                <c:pt idx="37">
                  <c:v>850199</c:v>
                </c:pt>
                <c:pt idx="38">
                  <c:v>844983</c:v>
                </c:pt>
                <c:pt idx="39">
                  <c:v>893182</c:v>
                </c:pt>
                <c:pt idx="40">
                  <c:v>850362</c:v>
                </c:pt>
                <c:pt idx="41">
                  <c:v>835639</c:v>
                </c:pt>
                <c:pt idx="42">
                  <c:v>824492</c:v>
                </c:pt>
                <c:pt idx="43">
                  <c:v>850692</c:v>
                </c:pt>
                <c:pt idx="44">
                  <c:v>838512</c:v>
                </c:pt>
                <c:pt idx="45">
                  <c:v>788035</c:v>
                </c:pt>
                <c:pt idx="46">
                  <c:v>747921</c:v>
                </c:pt>
                <c:pt idx="47">
                  <c:v>836127</c:v>
                </c:pt>
                <c:pt idx="48">
                  <c:v>898081</c:v>
                </c:pt>
                <c:pt idx="49">
                  <c:v>857373</c:v>
                </c:pt>
                <c:pt idx="50">
                  <c:v>910192</c:v>
                </c:pt>
                <c:pt idx="51">
                  <c:v>728699</c:v>
                </c:pt>
                <c:pt idx="52">
                  <c:v>824991</c:v>
                </c:pt>
                <c:pt idx="53">
                  <c:v>781875</c:v>
                </c:pt>
                <c:pt idx="54">
                  <c:v>748172</c:v>
                </c:pt>
                <c:pt idx="55">
                  <c:v>797534</c:v>
                </c:pt>
                <c:pt idx="56">
                  <c:v>851612</c:v>
                </c:pt>
                <c:pt idx="57">
                  <c:v>830431</c:v>
                </c:pt>
                <c:pt idx="58">
                  <c:v>790047</c:v>
                </c:pt>
                <c:pt idx="59">
                  <c:v>858906</c:v>
                </c:pt>
                <c:pt idx="60">
                  <c:v>909454</c:v>
                </c:pt>
                <c:pt idx="61">
                  <c:v>906023</c:v>
                </c:pt>
                <c:pt idx="62">
                  <c:v>862026</c:v>
                </c:pt>
                <c:pt idx="63">
                  <c:v>848186</c:v>
                </c:pt>
                <c:pt idx="64">
                  <c:v>867282</c:v>
                </c:pt>
                <c:pt idx="65">
                  <c:v>836506</c:v>
                </c:pt>
                <c:pt idx="66">
                  <c:v>719746</c:v>
                </c:pt>
                <c:pt idx="67">
                  <c:v>693889</c:v>
                </c:pt>
                <c:pt idx="68">
                  <c:v>662154</c:v>
                </c:pt>
                <c:pt idx="69">
                  <c:v>709633</c:v>
                </c:pt>
                <c:pt idx="70">
                  <c:v>715816</c:v>
                </c:pt>
                <c:pt idx="71">
                  <c:v>706929</c:v>
                </c:pt>
                <c:pt idx="72">
                  <c:v>738071</c:v>
                </c:pt>
                <c:pt idx="73">
                  <c:v>734619</c:v>
                </c:pt>
                <c:pt idx="74">
                  <c:v>820517</c:v>
                </c:pt>
                <c:pt idx="75">
                  <c:v>758841</c:v>
                </c:pt>
                <c:pt idx="76">
                  <c:v>779052</c:v>
                </c:pt>
                <c:pt idx="77">
                  <c:v>936114</c:v>
                </c:pt>
                <c:pt idx="78">
                  <c:v>1037667</c:v>
                </c:pt>
                <c:pt idx="79">
                  <c:v>941386</c:v>
                </c:pt>
                <c:pt idx="80">
                  <c:v>945131</c:v>
                </c:pt>
                <c:pt idx="81">
                  <c:v>910355</c:v>
                </c:pt>
                <c:pt idx="82">
                  <c:v>964222</c:v>
                </c:pt>
                <c:pt idx="83">
                  <c:v>950397</c:v>
                </c:pt>
                <c:pt idx="84">
                  <c:v>926635</c:v>
                </c:pt>
                <c:pt idx="85">
                  <c:v>898875</c:v>
                </c:pt>
                <c:pt idx="86">
                  <c:v>909499</c:v>
                </c:pt>
                <c:pt idx="87">
                  <c:v>957192</c:v>
                </c:pt>
                <c:pt idx="88">
                  <c:v>871983</c:v>
                </c:pt>
                <c:pt idx="89">
                  <c:v>869089</c:v>
                </c:pt>
                <c:pt idx="90">
                  <c:v>855637</c:v>
                </c:pt>
                <c:pt idx="91">
                  <c:v>1002830</c:v>
                </c:pt>
                <c:pt idx="92">
                  <c:v>867743</c:v>
                </c:pt>
                <c:pt idx="93">
                  <c:v>852418</c:v>
                </c:pt>
                <c:pt idx="94">
                  <c:v>835296</c:v>
                </c:pt>
                <c:pt idx="95">
                  <c:v>836686</c:v>
                </c:pt>
                <c:pt idx="96">
                  <c:v>877870</c:v>
                </c:pt>
                <c:pt idx="97">
                  <c:v>814379</c:v>
                </c:pt>
                <c:pt idx="98">
                  <c:v>821115</c:v>
                </c:pt>
                <c:pt idx="99">
                  <c:v>757715</c:v>
                </c:pt>
                <c:pt idx="100">
                  <c:v>850383</c:v>
                </c:pt>
                <c:pt idx="101">
                  <c:v>855921</c:v>
                </c:pt>
                <c:pt idx="102">
                  <c:v>878781</c:v>
                </c:pt>
                <c:pt idx="103">
                  <c:v>750002</c:v>
                </c:pt>
                <c:pt idx="104">
                  <c:v>772327</c:v>
                </c:pt>
                <c:pt idx="105">
                  <c:v>733302</c:v>
                </c:pt>
                <c:pt idx="106">
                  <c:v>766914</c:v>
                </c:pt>
                <c:pt idx="107">
                  <c:v>695472</c:v>
                </c:pt>
              </c:numCache>
            </c:numRef>
          </c:val>
          <c:extLst>
            <c:ext xmlns:c16="http://schemas.microsoft.com/office/drawing/2014/chart" uri="{C3380CC4-5D6E-409C-BE32-E72D297353CC}">
              <c16:uniqueId val="{00000000-4E00-47D8-B98F-F888755F1F0E}"/>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2732</c:v>
                </c:pt>
                <c:pt idx="1">
                  <c:v>16805</c:v>
                </c:pt>
                <c:pt idx="2">
                  <c:v>10936</c:v>
                </c:pt>
                <c:pt idx="3">
                  <c:v>4899</c:v>
                </c:pt>
                <c:pt idx="4">
                  <c:v>3963</c:v>
                </c:pt>
                <c:pt idx="5">
                  <c:v>2114</c:v>
                </c:pt>
                <c:pt idx="6">
                  <c:v>2775</c:v>
                </c:pt>
                <c:pt idx="7">
                  <c:v>2991</c:v>
                </c:pt>
                <c:pt idx="8">
                  <c:v>1455</c:v>
                </c:pt>
                <c:pt idx="9">
                  <c:v>1648</c:v>
                </c:pt>
                <c:pt idx="10">
                  <c:v>930</c:v>
                </c:pt>
                <c:pt idx="11">
                  <c:v>2390</c:v>
                </c:pt>
                <c:pt idx="12">
                  <c:v>2103</c:v>
                </c:pt>
                <c:pt idx="13">
                  <c:v>937</c:v>
                </c:pt>
                <c:pt idx="14">
                  <c:v>1140</c:v>
                </c:pt>
                <c:pt idx="15">
                  <c:v>910</c:v>
                </c:pt>
                <c:pt idx="16">
                  <c:v>407</c:v>
                </c:pt>
                <c:pt idx="17">
                  <c:v>484</c:v>
                </c:pt>
                <c:pt idx="18">
                  <c:v>426</c:v>
                </c:pt>
                <c:pt idx="19">
                  <c:v>373</c:v>
                </c:pt>
                <c:pt idx="20">
                  <c:v>1120</c:v>
                </c:pt>
                <c:pt idx="21">
                  <c:v>5994</c:v>
                </c:pt>
                <c:pt idx="22">
                  <c:v>1385</c:v>
                </c:pt>
                <c:pt idx="23">
                  <c:v>2386</c:v>
                </c:pt>
                <c:pt idx="24">
                  <c:v>8304</c:v>
                </c:pt>
                <c:pt idx="25">
                  <c:v>2393</c:v>
                </c:pt>
                <c:pt idx="26">
                  <c:v>1179</c:v>
                </c:pt>
                <c:pt idx="27">
                  <c:v>2067</c:v>
                </c:pt>
                <c:pt idx="28">
                  <c:v>12681</c:v>
                </c:pt>
                <c:pt idx="29">
                  <c:v>10238</c:v>
                </c:pt>
                <c:pt idx="30">
                  <c:v>7241</c:v>
                </c:pt>
                <c:pt idx="31">
                  <c:v>6342</c:v>
                </c:pt>
                <c:pt idx="32">
                  <c:v>7386</c:v>
                </c:pt>
                <c:pt idx="33">
                  <c:v>7623</c:v>
                </c:pt>
                <c:pt idx="34">
                  <c:v>6801</c:v>
                </c:pt>
                <c:pt idx="35">
                  <c:v>7557</c:v>
                </c:pt>
                <c:pt idx="36">
                  <c:v>10640</c:v>
                </c:pt>
                <c:pt idx="37">
                  <c:v>13361</c:v>
                </c:pt>
                <c:pt idx="38">
                  <c:v>14270</c:v>
                </c:pt>
                <c:pt idx="39">
                  <c:v>13424</c:v>
                </c:pt>
                <c:pt idx="40">
                  <c:v>10866</c:v>
                </c:pt>
                <c:pt idx="41">
                  <c:v>9492</c:v>
                </c:pt>
                <c:pt idx="42">
                  <c:v>8631</c:v>
                </c:pt>
                <c:pt idx="43">
                  <c:v>7255</c:v>
                </c:pt>
                <c:pt idx="44">
                  <c:v>7371</c:v>
                </c:pt>
                <c:pt idx="45">
                  <c:v>6129</c:v>
                </c:pt>
                <c:pt idx="46">
                  <c:v>3043</c:v>
                </c:pt>
                <c:pt idx="47">
                  <c:v>1882</c:v>
                </c:pt>
                <c:pt idx="48">
                  <c:v>3031</c:v>
                </c:pt>
                <c:pt idx="49">
                  <c:v>6876</c:v>
                </c:pt>
                <c:pt idx="50">
                  <c:v>10430</c:v>
                </c:pt>
                <c:pt idx="51">
                  <c:v>6675</c:v>
                </c:pt>
                <c:pt idx="52">
                  <c:v>19088</c:v>
                </c:pt>
                <c:pt idx="53">
                  <c:v>37833</c:v>
                </c:pt>
                <c:pt idx="54">
                  <c:v>33792</c:v>
                </c:pt>
                <c:pt idx="55">
                  <c:v>34711</c:v>
                </c:pt>
                <c:pt idx="56">
                  <c:v>34036</c:v>
                </c:pt>
                <c:pt idx="57">
                  <c:v>42328</c:v>
                </c:pt>
                <c:pt idx="58">
                  <c:v>45838</c:v>
                </c:pt>
                <c:pt idx="59">
                  <c:v>28448</c:v>
                </c:pt>
                <c:pt idx="60">
                  <c:v>5061</c:v>
                </c:pt>
                <c:pt idx="61">
                  <c:v>3869</c:v>
                </c:pt>
                <c:pt idx="62">
                  <c:v>2780</c:v>
                </c:pt>
                <c:pt idx="63">
                  <c:v>6060</c:v>
                </c:pt>
                <c:pt idx="64">
                  <c:v>5521</c:v>
                </c:pt>
                <c:pt idx="65">
                  <c:v>99224</c:v>
                </c:pt>
                <c:pt idx="66">
                  <c:v>168610</c:v>
                </c:pt>
                <c:pt idx="67">
                  <c:v>173541</c:v>
                </c:pt>
                <c:pt idx="68">
                  <c:v>168751</c:v>
                </c:pt>
                <c:pt idx="69">
                  <c:v>188270</c:v>
                </c:pt>
                <c:pt idx="70">
                  <c:v>191569</c:v>
                </c:pt>
                <c:pt idx="71">
                  <c:v>189183</c:v>
                </c:pt>
                <c:pt idx="72">
                  <c:v>199318</c:v>
                </c:pt>
                <c:pt idx="73">
                  <c:v>197256</c:v>
                </c:pt>
                <c:pt idx="74">
                  <c:v>220550</c:v>
                </c:pt>
                <c:pt idx="75">
                  <c:v>202736</c:v>
                </c:pt>
                <c:pt idx="76">
                  <c:v>175344</c:v>
                </c:pt>
                <c:pt idx="77">
                  <c:v>24785</c:v>
                </c:pt>
                <c:pt idx="78">
                  <c:v>18451</c:v>
                </c:pt>
                <c:pt idx="79">
                  <c:v>18763</c:v>
                </c:pt>
                <c:pt idx="80">
                  <c:v>17632</c:v>
                </c:pt>
                <c:pt idx="81">
                  <c:v>13605</c:v>
                </c:pt>
                <c:pt idx="82">
                  <c:v>10963</c:v>
                </c:pt>
                <c:pt idx="83">
                  <c:v>11276</c:v>
                </c:pt>
                <c:pt idx="84">
                  <c:v>16761</c:v>
                </c:pt>
                <c:pt idx="85">
                  <c:v>19425</c:v>
                </c:pt>
                <c:pt idx="86">
                  <c:v>17810</c:v>
                </c:pt>
                <c:pt idx="87">
                  <c:v>10341</c:v>
                </c:pt>
                <c:pt idx="88">
                  <c:v>10815</c:v>
                </c:pt>
                <c:pt idx="89">
                  <c:v>7796</c:v>
                </c:pt>
                <c:pt idx="90">
                  <c:v>7993</c:v>
                </c:pt>
                <c:pt idx="91">
                  <c:v>10398</c:v>
                </c:pt>
                <c:pt idx="92">
                  <c:v>10445</c:v>
                </c:pt>
                <c:pt idx="93">
                  <c:v>13877</c:v>
                </c:pt>
                <c:pt idx="94">
                  <c:v>13360</c:v>
                </c:pt>
                <c:pt idx="95">
                  <c:v>11408</c:v>
                </c:pt>
                <c:pt idx="96">
                  <c:v>10820</c:v>
                </c:pt>
                <c:pt idx="97">
                  <c:v>10377</c:v>
                </c:pt>
                <c:pt idx="98">
                  <c:v>8027</c:v>
                </c:pt>
                <c:pt idx="99">
                  <c:v>5346</c:v>
                </c:pt>
                <c:pt idx="100">
                  <c:v>8594</c:v>
                </c:pt>
                <c:pt idx="101">
                  <c:v>7319</c:v>
                </c:pt>
                <c:pt idx="102">
                  <c:v>8022</c:v>
                </c:pt>
                <c:pt idx="103">
                  <c:v>8511</c:v>
                </c:pt>
                <c:pt idx="104">
                  <c:v>7314</c:v>
                </c:pt>
                <c:pt idx="105">
                  <c:v>8257</c:v>
                </c:pt>
                <c:pt idx="106">
                  <c:v>14342</c:v>
                </c:pt>
                <c:pt idx="107">
                  <c:v>146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95</c:v>
                </c:pt>
                <c:pt idx="1">
                  <c:v>1680</c:v>
                </c:pt>
                <c:pt idx="2">
                  <c:v>2065</c:v>
                </c:pt>
                <c:pt idx="3">
                  <c:v>2395</c:v>
                </c:pt>
                <c:pt idx="4">
                  <c:v>2430</c:v>
                </c:pt>
                <c:pt idx="5">
                  <c:v>3050</c:v>
                </c:pt>
                <c:pt idx="6">
                  <c:v>4675</c:v>
                </c:pt>
                <c:pt idx="7">
                  <c:v>4890</c:v>
                </c:pt>
                <c:pt idx="8">
                  <c:v>5500</c:v>
                </c:pt>
                <c:pt idx="9">
                  <c:v>3520</c:v>
                </c:pt>
                <c:pt idx="10">
                  <c:v>4865</c:v>
                </c:pt>
                <c:pt idx="11">
                  <c:v>10250</c:v>
                </c:pt>
                <c:pt idx="12">
                  <c:v>41340</c:v>
                </c:pt>
                <c:pt idx="13">
                  <c:v>22155</c:v>
                </c:pt>
                <c:pt idx="14">
                  <c:v>12445</c:v>
                </c:pt>
                <c:pt idx="15">
                  <c:v>38375</c:v>
                </c:pt>
                <c:pt idx="16">
                  <c:v>31810</c:v>
                </c:pt>
                <c:pt idx="17">
                  <c:v>13205</c:v>
                </c:pt>
                <c:pt idx="18">
                  <c:v>3790</c:v>
                </c:pt>
                <c:pt idx="19">
                  <c:v>1290</c:v>
                </c:pt>
                <c:pt idx="20">
                  <c:v>520</c:v>
                </c:pt>
                <c:pt idx="21">
                  <c:v>340</c:v>
                </c:pt>
                <c:pt idx="22">
                  <c:v>265</c:v>
                </c:pt>
                <c:pt idx="23">
                  <c:v>95</c:v>
                </c:pt>
                <c:pt idx="24">
                  <c:v>145</c:v>
                </c:pt>
                <c:pt idx="25">
                  <c:v>25</c:v>
                </c:pt>
                <c:pt idx="26">
                  <c:v>20</c:v>
                </c:pt>
                <c:pt idx="27">
                  <c:v>5</c:v>
                </c:pt>
                <c:pt idx="28">
                  <c:v>15</c:v>
                </c:pt>
                <c:pt idx="29">
                  <c:v>5</c:v>
                </c:pt>
                <c:pt idx="30">
                  <c:v>10</c:v>
                </c:pt>
                <c:pt idx="31">
                  <c:v>20</c:v>
                </c:pt>
                <c:pt idx="32">
                  <c:v>10</c:v>
                </c:pt>
                <c:pt idx="33">
                  <c:v>5</c:v>
                </c:pt>
                <c:pt idx="34">
                  <c:v>5</c:v>
                </c:pt>
                <c:pt idx="35">
                  <c:v>10</c:v>
                </c:pt>
                <c:pt idx="36">
                  <c:v>5</c:v>
                </c:pt>
                <c:pt idx="37">
                  <c:v>5</c:v>
                </c:pt>
                <c:pt idx="38">
                  <c:v>5</c:v>
                </c:pt>
                <c:pt idx="39">
                  <c:v>5</c:v>
                </c:pt>
                <c:pt idx="40">
                  <c:v>5</c:v>
                </c:pt>
                <c:pt idx="41">
                  <c:v>5</c:v>
                </c:pt>
                <c:pt idx="42">
                  <c:v>5</c:v>
                </c:pt>
                <c:pt idx="43">
                  <c:v>5</c:v>
                </c:pt>
                <c:pt idx="44">
                  <c:v>20</c:v>
                </c:pt>
                <c:pt idx="45">
                  <c:v>10</c:v>
                </c:pt>
                <c:pt idx="46">
                  <c:v>5</c:v>
                </c:pt>
                <c:pt idx="47">
                  <c:v>5</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95</c:v>
                </c:pt>
                <c:pt idx="1">
                  <c:v>1680</c:v>
                </c:pt>
                <c:pt idx="2">
                  <c:v>2065</c:v>
                </c:pt>
                <c:pt idx="3">
                  <c:v>2395</c:v>
                </c:pt>
                <c:pt idx="4">
                  <c:v>2430</c:v>
                </c:pt>
                <c:pt idx="5">
                  <c:v>3050</c:v>
                </c:pt>
                <c:pt idx="6">
                  <c:v>4675</c:v>
                </c:pt>
                <c:pt idx="7">
                  <c:v>4890</c:v>
                </c:pt>
                <c:pt idx="8">
                  <c:v>5500</c:v>
                </c:pt>
                <c:pt idx="9">
                  <c:v>3520</c:v>
                </c:pt>
                <c:pt idx="10">
                  <c:v>4865</c:v>
                </c:pt>
                <c:pt idx="11">
                  <c:v>10250</c:v>
                </c:pt>
                <c:pt idx="12">
                  <c:v>41340</c:v>
                </c:pt>
                <c:pt idx="13">
                  <c:v>22155</c:v>
                </c:pt>
                <c:pt idx="14">
                  <c:v>12445</c:v>
                </c:pt>
                <c:pt idx="15">
                  <c:v>38375</c:v>
                </c:pt>
                <c:pt idx="16">
                  <c:v>31810</c:v>
                </c:pt>
                <c:pt idx="17">
                  <c:v>13205</c:v>
                </c:pt>
                <c:pt idx="18">
                  <c:v>3790</c:v>
                </c:pt>
                <c:pt idx="19">
                  <c:v>1290</c:v>
                </c:pt>
                <c:pt idx="20">
                  <c:v>520</c:v>
                </c:pt>
                <c:pt idx="21">
                  <c:v>340</c:v>
                </c:pt>
                <c:pt idx="22">
                  <c:v>265</c:v>
                </c:pt>
                <c:pt idx="23">
                  <c:v>95</c:v>
                </c:pt>
                <c:pt idx="24">
                  <c:v>145</c:v>
                </c:pt>
                <c:pt idx="25">
                  <c:v>25</c:v>
                </c:pt>
                <c:pt idx="26">
                  <c:v>20</c:v>
                </c:pt>
                <c:pt idx="27">
                  <c:v>5</c:v>
                </c:pt>
                <c:pt idx="28">
                  <c:v>15</c:v>
                </c:pt>
                <c:pt idx="29">
                  <c:v>5</c:v>
                </c:pt>
                <c:pt idx="30">
                  <c:v>10</c:v>
                </c:pt>
                <c:pt idx="31">
                  <c:v>20</c:v>
                </c:pt>
                <c:pt idx="32">
                  <c:v>10</c:v>
                </c:pt>
                <c:pt idx="33">
                  <c:v>5</c:v>
                </c:pt>
                <c:pt idx="34">
                  <c:v>5</c:v>
                </c:pt>
                <c:pt idx="35">
                  <c:v>10</c:v>
                </c:pt>
                <c:pt idx="36">
                  <c:v>5</c:v>
                </c:pt>
                <c:pt idx="37">
                  <c:v>5</c:v>
                </c:pt>
                <c:pt idx="38">
                  <c:v>5</c:v>
                </c:pt>
                <c:pt idx="39">
                  <c:v>5</c:v>
                </c:pt>
                <c:pt idx="40">
                  <c:v>5</c:v>
                </c:pt>
                <c:pt idx="41">
                  <c:v>5</c:v>
                </c:pt>
                <c:pt idx="42">
                  <c:v>5</c:v>
                </c:pt>
                <c:pt idx="43">
                  <c:v>5</c:v>
                </c:pt>
                <c:pt idx="44">
                  <c:v>20</c:v>
                </c:pt>
                <c:pt idx="45">
                  <c:v>10</c:v>
                </c:pt>
                <c:pt idx="46">
                  <c:v>5</c:v>
                </c:pt>
                <c:pt idx="47">
                  <c:v>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5450</c:v>
                </c:pt>
                <c:pt idx="1">
                  <c:v>90402</c:v>
                </c:pt>
                <c:pt idx="2">
                  <c:v>92029</c:v>
                </c:pt>
                <c:pt idx="3">
                  <c:v>90466</c:v>
                </c:pt>
                <c:pt idx="4">
                  <c:v>93722</c:v>
                </c:pt>
                <c:pt idx="5">
                  <c:v>89629</c:v>
                </c:pt>
                <c:pt idx="6">
                  <c:v>83585</c:v>
                </c:pt>
                <c:pt idx="7">
                  <c:v>85016</c:v>
                </c:pt>
                <c:pt idx="8">
                  <c:v>92907</c:v>
                </c:pt>
                <c:pt idx="9">
                  <c:v>85455</c:v>
                </c:pt>
                <c:pt idx="10">
                  <c:v>85414</c:v>
                </c:pt>
                <c:pt idx="11">
                  <c:v>86377</c:v>
                </c:pt>
                <c:pt idx="12">
                  <c:v>83839</c:v>
                </c:pt>
                <c:pt idx="13">
                  <c:v>92333</c:v>
                </c:pt>
                <c:pt idx="14">
                  <c:v>80286</c:v>
                </c:pt>
                <c:pt idx="15">
                  <c:v>82212</c:v>
                </c:pt>
                <c:pt idx="16">
                  <c:v>82434</c:v>
                </c:pt>
                <c:pt idx="17">
                  <c:v>94186</c:v>
                </c:pt>
                <c:pt idx="18">
                  <c:v>89026</c:v>
                </c:pt>
                <c:pt idx="19">
                  <c:v>87068</c:v>
                </c:pt>
                <c:pt idx="20">
                  <c:v>95003</c:v>
                </c:pt>
                <c:pt idx="21">
                  <c:v>97486</c:v>
                </c:pt>
                <c:pt idx="22">
                  <c:v>96907</c:v>
                </c:pt>
                <c:pt idx="23">
                  <c:v>93922</c:v>
                </c:pt>
                <c:pt idx="24">
                  <c:v>93132</c:v>
                </c:pt>
                <c:pt idx="25">
                  <c:v>94456</c:v>
                </c:pt>
                <c:pt idx="26">
                  <c:v>97816</c:v>
                </c:pt>
                <c:pt idx="27">
                  <c:v>88651</c:v>
                </c:pt>
                <c:pt idx="28">
                  <c:v>86317</c:v>
                </c:pt>
                <c:pt idx="29">
                  <c:v>84994</c:v>
                </c:pt>
                <c:pt idx="30">
                  <c:v>90949</c:v>
                </c:pt>
                <c:pt idx="31">
                  <c:v>85833</c:v>
                </c:pt>
                <c:pt idx="32">
                  <c:v>87421</c:v>
                </c:pt>
                <c:pt idx="33">
                  <c:v>83904</c:v>
                </c:pt>
                <c:pt idx="34">
                  <c:v>85570</c:v>
                </c:pt>
                <c:pt idx="35">
                  <c:v>91155</c:v>
                </c:pt>
                <c:pt idx="36">
                  <c:v>90311</c:v>
                </c:pt>
                <c:pt idx="37">
                  <c:v>87960</c:v>
                </c:pt>
                <c:pt idx="38">
                  <c:v>83702</c:v>
                </c:pt>
                <c:pt idx="39">
                  <c:v>83889</c:v>
                </c:pt>
                <c:pt idx="40">
                  <c:v>72209</c:v>
                </c:pt>
                <c:pt idx="41">
                  <c:v>72787</c:v>
                </c:pt>
                <c:pt idx="42">
                  <c:v>72251</c:v>
                </c:pt>
                <c:pt idx="43">
                  <c:v>76903</c:v>
                </c:pt>
                <c:pt idx="44">
                  <c:v>85286</c:v>
                </c:pt>
                <c:pt idx="45">
                  <c:v>84770</c:v>
                </c:pt>
                <c:pt idx="46">
                  <c:v>79290</c:v>
                </c:pt>
                <c:pt idx="47">
                  <c:v>82584</c:v>
                </c:pt>
                <c:pt idx="48">
                  <c:v>86697</c:v>
                </c:pt>
                <c:pt idx="49">
                  <c:v>80942</c:v>
                </c:pt>
                <c:pt idx="50">
                  <c:v>85038</c:v>
                </c:pt>
                <c:pt idx="51">
                  <c:v>59207</c:v>
                </c:pt>
                <c:pt idx="52">
                  <c:v>70361</c:v>
                </c:pt>
                <c:pt idx="53">
                  <c:v>73694</c:v>
                </c:pt>
                <c:pt idx="54">
                  <c:v>87469</c:v>
                </c:pt>
                <c:pt idx="55">
                  <c:v>96817</c:v>
                </c:pt>
                <c:pt idx="56">
                  <c:v>89581</c:v>
                </c:pt>
                <c:pt idx="57">
                  <c:v>79347</c:v>
                </c:pt>
                <c:pt idx="58">
                  <c:v>68612</c:v>
                </c:pt>
                <c:pt idx="59">
                  <c:v>65512</c:v>
                </c:pt>
                <c:pt idx="60">
                  <c:v>65189</c:v>
                </c:pt>
                <c:pt idx="61">
                  <c:v>64865</c:v>
                </c:pt>
                <c:pt idx="62">
                  <c:v>69450</c:v>
                </c:pt>
                <c:pt idx="63">
                  <c:v>79508</c:v>
                </c:pt>
                <c:pt idx="64">
                  <c:v>81883</c:v>
                </c:pt>
                <c:pt idx="65">
                  <c:v>82500</c:v>
                </c:pt>
                <c:pt idx="66">
                  <c:v>78944</c:v>
                </c:pt>
                <c:pt idx="67">
                  <c:v>77756</c:v>
                </c:pt>
                <c:pt idx="68">
                  <c:v>77908</c:v>
                </c:pt>
                <c:pt idx="69">
                  <c:v>81800</c:v>
                </c:pt>
                <c:pt idx="70">
                  <c:v>80072</c:v>
                </c:pt>
                <c:pt idx="71">
                  <c:v>76579</c:v>
                </c:pt>
                <c:pt idx="72">
                  <c:v>91422</c:v>
                </c:pt>
                <c:pt idx="73">
                  <c:v>98330</c:v>
                </c:pt>
                <c:pt idx="74">
                  <c:v>104843</c:v>
                </c:pt>
                <c:pt idx="75">
                  <c:v>100263</c:v>
                </c:pt>
                <c:pt idx="76">
                  <c:v>99287</c:v>
                </c:pt>
                <c:pt idx="77">
                  <c:v>99414</c:v>
                </c:pt>
                <c:pt idx="78">
                  <c:v>108565</c:v>
                </c:pt>
                <c:pt idx="79">
                  <c:v>89339</c:v>
                </c:pt>
                <c:pt idx="80">
                  <c:v>83627</c:v>
                </c:pt>
                <c:pt idx="81">
                  <c:v>79475</c:v>
                </c:pt>
                <c:pt idx="82">
                  <c:v>83906</c:v>
                </c:pt>
                <c:pt idx="83">
                  <c:v>95696</c:v>
                </c:pt>
                <c:pt idx="84">
                  <c:v>95067</c:v>
                </c:pt>
                <c:pt idx="85">
                  <c:v>97989</c:v>
                </c:pt>
                <c:pt idx="86">
                  <c:v>93908</c:v>
                </c:pt>
                <c:pt idx="87">
                  <c:v>98511</c:v>
                </c:pt>
                <c:pt idx="88">
                  <c:v>91856</c:v>
                </c:pt>
                <c:pt idx="89">
                  <c:v>92940</c:v>
                </c:pt>
                <c:pt idx="90">
                  <c:v>85187</c:v>
                </c:pt>
                <c:pt idx="91">
                  <c:v>93105</c:v>
                </c:pt>
                <c:pt idx="92">
                  <c:v>75556</c:v>
                </c:pt>
                <c:pt idx="93">
                  <c:v>72755</c:v>
                </c:pt>
                <c:pt idx="94">
                  <c:v>81165</c:v>
                </c:pt>
                <c:pt idx="95">
                  <c:v>90943</c:v>
                </c:pt>
                <c:pt idx="96">
                  <c:v>96055</c:v>
                </c:pt>
                <c:pt idx="97">
                  <c:v>72278</c:v>
                </c:pt>
                <c:pt idx="98">
                  <c:v>23330</c:v>
                </c:pt>
                <c:pt idx="99">
                  <c:v>22143</c:v>
                </c:pt>
                <c:pt idx="100">
                  <c:v>24683</c:v>
                </c:pt>
                <c:pt idx="101">
                  <c:v>23055</c:v>
                </c:pt>
                <c:pt idx="102">
                  <c:v>25078</c:v>
                </c:pt>
                <c:pt idx="103">
                  <c:v>25626</c:v>
                </c:pt>
                <c:pt idx="104">
                  <c:v>21307</c:v>
                </c:pt>
                <c:pt idx="105">
                  <c:v>21189</c:v>
                </c:pt>
                <c:pt idx="106">
                  <c:v>24874</c:v>
                </c:pt>
                <c:pt idx="107">
                  <c:v>24616</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7572</c:v>
                </c:pt>
                <c:pt idx="1">
                  <c:v>37906</c:v>
                </c:pt>
                <c:pt idx="2">
                  <c:v>46880</c:v>
                </c:pt>
                <c:pt idx="3">
                  <c:v>29094</c:v>
                </c:pt>
                <c:pt idx="4">
                  <c:v>17969</c:v>
                </c:pt>
                <c:pt idx="5">
                  <c:v>22358</c:v>
                </c:pt>
                <c:pt idx="6">
                  <c:v>21109</c:v>
                </c:pt>
                <c:pt idx="7">
                  <c:v>24565</c:v>
                </c:pt>
                <c:pt idx="8">
                  <c:v>14970</c:v>
                </c:pt>
                <c:pt idx="9">
                  <c:v>14080</c:v>
                </c:pt>
                <c:pt idx="10">
                  <c:v>18131</c:v>
                </c:pt>
                <c:pt idx="11">
                  <c:v>14440</c:v>
                </c:pt>
                <c:pt idx="12">
                  <c:v>11791</c:v>
                </c:pt>
                <c:pt idx="13">
                  <c:v>11226</c:v>
                </c:pt>
                <c:pt idx="14">
                  <c:v>11741</c:v>
                </c:pt>
                <c:pt idx="15">
                  <c:v>18786</c:v>
                </c:pt>
                <c:pt idx="16">
                  <c:v>10885</c:v>
                </c:pt>
                <c:pt idx="17">
                  <c:v>2857</c:v>
                </c:pt>
                <c:pt idx="18">
                  <c:v>1321</c:v>
                </c:pt>
                <c:pt idx="19">
                  <c:v>1215</c:v>
                </c:pt>
                <c:pt idx="20">
                  <c:v>2252</c:v>
                </c:pt>
                <c:pt idx="21">
                  <c:v>657</c:v>
                </c:pt>
                <c:pt idx="22">
                  <c:v>484</c:v>
                </c:pt>
                <c:pt idx="23">
                  <c:v>900</c:v>
                </c:pt>
                <c:pt idx="24">
                  <c:v>542</c:v>
                </c:pt>
                <c:pt idx="25">
                  <c:v>486</c:v>
                </c:pt>
                <c:pt idx="26">
                  <c:v>451</c:v>
                </c:pt>
                <c:pt idx="27">
                  <c:v>7863</c:v>
                </c:pt>
                <c:pt idx="28">
                  <c:v>19149</c:v>
                </c:pt>
                <c:pt idx="29">
                  <c:v>15041</c:v>
                </c:pt>
                <c:pt idx="30">
                  <c:v>14494</c:v>
                </c:pt>
                <c:pt idx="31">
                  <c:v>13017</c:v>
                </c:pt>
                <c:pt idx="32">
                  <c:v>12478</c:v>
                </c:pt>
                <c:pt idx="33">
                  <c:v>13304</c:v>
                </c:pt>
                <c:pt idx="34">
                  <c:v>14924</c:v>
                </c:pt>
                <c:pt idx="35">
                  <c:v>6016</c:v>
                </c:pt>
                <c:pt idx="36">
                  <c:v>773</c:v>
                </c:pt>
                <c:pt idx="37">
                  <c:v>391</c:v>
                </c:pt>
                <c:pt idx="38">
                  <c:v>5692</c:v>
                </c:pt>
                <c:pt idx="39">
                  <c:v>9825</c:v>
                </c:pt>
                <c:pt idx="40">
                  <c:v>22331</c:v>
                </c:pt>
                <c:pt idx="41">
                  <c:v>26820</c:v>
                </c:pt>
                <c:pt idx="42">
                  <c:v>26380</c:v>
                </c:pt>
                <c:pt idx="43">
                  <c:v>25008</c:v>
                </c:pt>
                <c:pt idx="44">
                  <c:v>17327</c:v>
                </c:pt>
                <c:pt idx="45">
                  <c:v>19555</c:v>
                </c:pt>
                <c:pt idx="46">
                  <c:v>31929</c:v>
                </c:pt>
                <c:pt idx="47">
                  <c:v>31529</c:v>
                </c:pt>
                <c:pt idx="48">
                  <c:v>41962</c:v>
                </c:pt>
                <c:pt idx="49">
                  <c:v>77019</c:v>
                </c:pt>
                <c:pt idx="50">
                  <c:v>133706</c:v>
                </c:pt>
                <c:pt idx="51">
                  <c:v>248232</c:v>
                </c:pt>
                <c:pt idx="52">
                  <c:v>34844</c:v>
                </c:pt>
                <c:pt idx="53">
                  <c:v>27118</c:v>
                </c:pt>
                <c:pt idx="54">
                  <c:v>18729</c:v>
                </c:pt>
                <c:pt idx="55">
                  <c:v>11129</c:v>
                </c:pt>
                <c:pt idx="56">
                  <c:v>20774</c:v>
                </c:pt>
                <c:pt idx="57">
                  <c:v>34174</c:v>
                </c:pt>
                <c:pt idx="58">
                  <c:v>38165</c:v>
                </c:pt>
                <c:pt idx="59">
                  <c:v>60032</c:v>
                </c:pt>
                <c:pt idx="60">
                  <c:v>52796</c:v>
                </c:pt>
                <c:pt idx="61">
                  <c:v>48706</c:v>
                </c:pt>
                <c:pt idx="62">
                  <c:v>38511</c:v>
                </c:pt>
                <c:pt idx="63">
                  <c:v>30702</c:v>
                </c:pt>
                <c:pt idx="64">
                  <c:v>23867</c:v>
                </c:pt>
                <c:pt idx="65">
                  <c:v>24160</c:v>
                </c:pt>
                <c:pt idx="66">
                  <c:v>23147</c:v>
                </c:pt>
                <c:pt idx="67">
                  <c:v>26906</c:v>
                </c:pt>
                <c:pt idx="68">
                  <c:v>19945</c:v>
                </c:pt>
                <c:pt idx="69">
                  <c:v>20792</c:v>
                </c:pt>
                <c:pt idx="70">
                  <c:v>19828</c:v>
                </c:pt>
                <c:pt idx="71">
                  <c:v>19666</c:v>
                </c:pt>
                <c:pt idx="72">
                  <c:v>13800</c:v>
                </c:pt>
                <c:pt idx="73">
                  <c:v>283</c:v>
                </c:pt>
                <c:pt idx="74">
                  <c:v>422</c:v>
                </c:pt>
                <c:pt idx="75">
                  <c:v>369</c:v>
                </c:pt>
                <c:pt idx="76">
                  <c:v>729</c:v>
                </c:pt>
                <c:pt idx="77">
                  <c:v>246</c:v>
                </c:pt>
                <c:pt idx="78">
                  <c:v>680</c:v>
                </c:pt>
                <c:pt idx="79">
                  <c:v>11671</c:v>
                </c:pt>
                <c:pt idx="80">
                  <c:v>21933</c:v>
                </c:pt>
                <c:pt idx="81">
                  <c:v>22236</c:v>
                </c:pt>
                <c:pt idx="82">
                  <c:v>20768</c:v>
                </c:pt>
                <c:pt idx="83">
                  <c:v>5914</c:v>
                </c:pt>
                <c:pt idx="84">
                  <c:v>4807</c:v>
                </c:pt>
                <c:pt idx="85">
                  <c:v>356</c:v>
                </c:pt>
                <c:pt idx="86">
                  <c:v>3278</c:v>
                </c:pt>
                <c:pt idx="87">
                  <c:v>455</c:v>
                </c:pt>
                <c:pt idx="88">
                  <c:v>525</c:v>
                </c:pt>
                <c:pt idx="89">
                  <c:v>425</c:v>
                </c:pt>
                <c:pt idx="90">
                  <c:v>5691</c:v>
                </c:pt>
                <c:pt idx="91">
                  <c:v>12529</c:v>
                </c:pt>
                <c:pt idx="92">
                  <c:v>23342</c:v>
                </c:pt>
                <c:pt idx="93">
                  <c:v>31967</c:v>
                </c:pt>
                <c:pt idx="94">
                  <c:v>20891</c:v>
                </c:pt>
                <c:pt idx="95">
                  <c:v>10671</c:v>
                </c:pt>
                <c:pt idx="96">
                  <c:v>13507</c:v>
                </c:pt>
                <c:pt idx="97">
                  <c:v>39682</c:v>
                </c:pt>
                <c:pt idx="98">
                  <c:v>93818</c:v>
                </c:pt>
                <c:pt idx="99">
                  <c:v>103439</c:v>
                </c:pt>
                <c:pt idx="100">
                  <c:v>114095</c:v>
                </c:pt>
                <c:pt idx="101">
                  <c:v>129821</c:v>
                </c:pt>
                <c:pt idx="102">
                  <c:v>164996</c:v>
                </c:pt>
                <c:pt idx="103">
                  <c:v>275385</c:v>
                </c:pt>
                <c:pt idx="104">
                  <c:v>84730</c:v>
                </c:pt>
                <c:pt idx="105">
                  <c:v>73287</c:v>
                </c:pt>
                <c:pt idx="106">
                  <c:v>71775</c:v>
                </c:pt>
                <c:pt idx="107">
                  <c:v>63962</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5304</c:v>
                </c:pt>
                <c:pt idx="1">
                  <c:v>89737</c:v>
                </c:pt>
                <c:pt idx="2">
                  <c:v>91217</c:v>
                </c:pt>
                <c:pt idx="3">
                  <c:v>89095</c:v>
                </c:pt>
                <c:pt idx="4">
                  <c:v>92200</c:v>
                </c:pt>
                <c:pt idx="5">
                  <c:v>87923</c:v>
                </c:pt>
                <c:pt idx="6">
                  <c:v>82067</c:v>
                </c:pt>
                <c:pt idx="7">
                  <c:v>83238</c:v>
                </c:pt>
                <c:pt idx="8">
                  <c:v>90793</c:v>
                </c:pt>
                <c:pt idx="9">
                  <c:v>83601</c:v>
                </c:pt>
                <c:pt idx="10">
                  <c:v>83674</c:v>
                </c:pt>
                <c:pt idx="11">
                  <c:v>84639</c:v>
                </c:pt>
                <c:pt idx="12">
                  <c:v>81973</c:v>
                </c:pt>
                <c:pt idx="13">
                  <c:v>90139</c:v>
                </c:pt>
                <c:pt idx="14">
                  <c:v>77886</c:v>
                </c:pt>
                <c:pt idx="15">
                  <c:v>80011</c:v>
                </c:pt>
                <c:pt idx="16">
                  <c:v>80198</c:v>
                </c:pt>
                <c:pt idx="17">
                  <c:v>91826</c:v>
                </c:pt>
                <c:pt idx="18">
                  <c:v>86840</c:v>
                </c:pt>
                <c:pt idx="19">
                  <c:v>84944</c:v>
                </c:pt>
                <c:pt idx="20">
                  <c:v>92723</c:v>
                </c:pt>
                <c:pt idx="21">
                  <c:v>95216</c:v>
                </c:pt>
                <c:pt idx="22">
                  <c:v>94533</c:v>
                </c:pt>
                <c:pt idx="23">
                  <c:v>91566</c:v>
                </c:pt>
                <c:pt idx="24">
                  <c:v>90588</c:v>
                </c:pt>
                <c:pt idx="25">
                  <c:v>92102</c:v>
                </c:pt>
                <c:pt idx="26">
                  <c:v>95368</c:v>
                </c:pt>
                <c:pt idx="27">
                  <c:v>86225</c:v>
                </c:pt>
                <c:pt idx="28">
                  <c:v>83773</c:v>
                </c:pt>
                <c:pt idx="29">
                  <c:v>82556</c:v>
                </c:pt>
                <c:pt idx="30">
                  <c:v>88315</c:v>
                </c:pt>
                <c:pt idx="31">
                  <c:v>83305</c:v>
                </c:pt>
                <c:pt idx="32">
                  <c:v>84671</c:v>
                </c:pt>
                <c:pt idx="33">
                  <c:v>81278</c:v>
                </c:pt>
                <c:pt idx="34">
                  <c:v>83072</c:v>
                </c:pt>
                <c:pt idx="35">
                  <c:v>88805</c:v>
                </c:pt>
                <c:pt idx="36">
                  <c:v>87855</c:v>
                </c:pt>
                <c:pt idx="37">
                  <c:v>85622</c:v>
                </c:pt>
                <c:pt idx="38">
                  <c:v>81384</c:v>
                </c:pt>
                <c:pt idx="39">
                  <c:v>81469</c:v>
                </c:pt>
                <c:pt idx="40">
                  <c:v>69759</c:v>
                </c:pt>
                <c:pt idx="41">
                  <c:v>70345</c:v>
                </c:pt>
                <c:pt idx="42">
                  <c:v>69999</c:v>
                </c:pt>
                <c:pt idx="43">
                  <c:v>74451</c:v>
                </c:pt>
                <c:pt idx="44">
                  <c:v>82844</c:v>
                </c:pt>
                <c:pt idx="45">
                  <c:v>82368</c:v>
                </c:pt>
                <c:pt idx="46">
                  <c:v>77176</c:v>
                </c:pt>
                <c:pt idx="47">
                  <c:v>80354</c:v>
                </c:pt>
                <c:pt idx="48">
                  <c:v>84529</c:v>
                </c:pt>
                <c:pt idx="49">
                  <c:v>79574</c:v>
                </c:pt>
                <c:pt idx="50">
                  <c:v>84044</c:v>
                </c:pt>
                <c:pt idx="51">
                  <c:v>58571</c:v>
                </c:pt>
                <c:pt idx="52">
                  <c:v>69963</c:v>
                </c:pt>
                <c:pt idx="53">
                  <c:v>73062</c:v>
                </c:pt>
                <c:pt idx="54">
                  <c:v>87089</c:v>
                </c:pt>
                <c:pt idx="55">
                  <c:v>96669</c:v>
                </c:pt>
                <c:pt idx="56">
                  <c:v>89339</c:v>
                </c:pt>
                <c:pt idx="57">
                  <c:v>79275</c:v>
                </c:pt>
                <c:pt idx="58">
                  <c:v>68462</c:v>
                </c:pt>
                <c:pt idx="59">
                  <c:v>65348</c:v>
                </c:pt>
                <c:pt idx="60">
                  <c:v>64989</c:v>
                </c:pt>
                <c:pt idx="61">
                  <c:v>64685</c:v>
                </c:pt>
                <c:pt idx="62">
                  <c:v>69244</c:v>
                </c:pt>
                <c:pt idx="63">
                  <c:v>79418</c:v>
                </c:pt>
                <c:pt idx="64">
                  <c:v>81701</c:v>
                </c:pt>
                <c:pt idx="65">
                  <c:v>82440</c:v>
                </c:pt>
                <c:pt idx="66">
                  <c:v>78732</c:v>
                </c:pt>
                <c:pt idx="67">
                  <c:v>77568</c:v>
                </c:pt>
                <c:pt idx="68">
                  <c:v>77748</c:v>
                </c:pt>
                <c:pt idx="69">
                  <c:v>81678</c:v>
                </c:pt>
                <c:pt idx="70">
                  <c:v>79930</c:v>
                </c:pt>
                <c:pt idx="71">
                  <c:v>76539</c:v>
                </c:pt>
                <c:pt idx="72">
                  <c:v>91324</c:v>
                </c:pt>
                <c:pt idx="73">
                  <c:v>98280</c:v>
                </c:pt>
                <c:pt idx="74">
                  <c:v>104781</c:v>
                </c:pt>
                <c:pt idx="75">
                  <c:v>100215</c:v>
                </c:pt>
                <c:pt idx="76">
                  <c:v>99259</c:v>
                </c:pt>
                <c:pt idx="77">
                  <c:v>99382</c:v>
                </c:pt>
                <c:pt idx="78">
                  <c:v>108441</c:v>
                </c:pt>
                <c:pt idx="79">
                  <c:v>89327</c:v>
                </c:pt>
                <c:pt idx="80">
                  <c:v>83609</c:v>
                </c:pt>
                <c:pt idx="81">
                  <c:v>79459</c:v>
                </c:pt>
                <c:pt idx="82">
                  <c:v>83894</c:v>
                </c:pt>
                <c:pt idx="83">
                  <c:v>95676</c:v>
                </c:pt>
                <c:pt idx="84">
                  <c:v>95059</c:v>
                </c:pt>
                <c:pt idx="85">
                  <c:v>97961</c:v>
                </c:pt>
                <c:pt idx="86">
                  <c:v>93900</c:v>
                </c:pt>
                <c:pt idx="87">
                  <c:v>98467</c:v>
                </c:pt>
                <c:pt idx="88">
                  <c:v>91834</c:v>
                </c:pt>
                <c:pt idx="89">
                  <c:v>92928</c:v>
                </c:pt>
                <c:pt idx="90">
                  <c:v>85175</c:v>
                </c:pt>
                <c:pt idx="91">
                  <c:v>93101</c:v>
                </c:pt>
                <c:pt idx="92">
                  <c:v>75554</c:v>
                </c:pt>
                <c:pt idx="93">
                  <c:v>72739</c:v>
                </c:pt>
                <c:pt idx="94">
                  <c:v>81161</c:v>
                </c:pt>
                <c:pt idx="95">
                  <c:v>90939</c:v>
                </c:pt>
                <c:pt idx="96">
                  <c:v>96049</c:v>
                </c:pt>
                <c:pt idx="97">
                  <c:v>72254</c:v>
                </c:pt>
                <c:pt idx="98">
                  <c:v>23222</c:v>
                </c:pt>
                <c:pt idx="99">
                  <c:v>22139</c:v>
                </c:pt>
                <c:pt idx="100">
                  <c:v>24583</c:v>
                </c:pt>
                <c:pt idx="101">
                  <c:v>23023</c:v>
                </c:pt>
                <c:pt idx="102">
                  <c:v>25068</c:v>
                </c:pt>
                <c:pt idx="103">
                  <c:v>25590</c:v>
                </c:pt>
                <c:pt idx="104">
                  <c:v>21245</c:v>
                </c:pt>
                <c:pt idx="105">
                  <c:v>20999</c:v>
                </c:pt>
                <c:pt idx="106">
                  <c:v>23948</c:v>
                </c:pt>
                <c:pt idx="107">
                  <c:v>23020</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7518</c:v>
                </c:pt>
                <c:pt idx="1">
                  <c:v>37894</c:v>
                </c:pt>
                <c:pt idx="2">
                  <c:v>46850</c:v>
                </c:pt>
                <c:pt idx="3">
                  <c:v>29062</c:v>
                </c:pt>
                <c:pt idx="4">
                  <c:v>17959</c:v>
                </c:pt>
                <c:pt idx="5">
                  <c:v>22264</c:v>
                </c:pt>
                <c:pt idx="6">
                  <c:v>20957</c:v>
                </c:pt>
                <c:pt idx="7">
                  <c:v>24389</c:v>
                </c:pt>
                <c:pt idx="8">
                  <c:v>14896</c:v>
                </c:pt>
                <c:pt idx="9">
                  <c:v>13958</c:v>
                </c:pt>
                <c:pt idx="10">
                  <c:v>17983</c:v>
                </c:pt>
                <c:pt idx="11">
                  <c:v>14286</c:v>
                </c:pt>
                <c:pt idx="12">
                  <c:v>11607</c:v>
                </c:pt>
                <c:pt idx="13">
                  <c:v>11038</c:v>
                </c:pt>
                <c:pt idx="14">
                  <c:v>11643</c:v>
                </c:pt>
                <c:pt idx="15">
                  <c:v>18624</c:v>
                </c:pt>
                <c:pt idx="16">
                  <c:v>10749</c:v>
                </c:pt>
                <c:pt idx="17">
                  <c:v>2685</c:v>
                </c:pt>
                <c:pt idx="18">
                  <c:v>1169</c:v>
                </c:pt>
                <c:pt idx="19">
                  <c:v>1081</c:v>
                </c:pt>
                <c:pt idx="20">
                  <c:v>2052</c:v>
                </c:pt>
                <c:pt idx="21">
                  <c:v>529</c:v>
                </c:pt>
                <c:pt idx="22">
                  <c:v>266</c:v>
                </c:pt>
                <c:pt idx="23">
                  <c:v>418</c:v>
                </c:pt>
                <c:pt idx="24">
                  <c:v>390</c:v>
                </c:pt>
                <c:pt idx="25">
                  <c:v>302</c:v>
                </c:pt>
                <c:pt idx="26">
                  <c:v>205</c:v>
                </c:pt>
                <c:pt idx="27">
                  <c:v>7715</c:v>
                </c:pt>
                <c:pt idx="28">
                  <c:v>18987</c:v>
                </c:pt>
                <c:pt idx="29">
                  <c:v>14875</c:v>
                </c:pt>
                <c:pt idx="30">
                  <c:v>14374</c:v>
                </c:pt>
                <c:pt idx="31">
                  <c:v>12873</c:v>
                </c:pt>
                <c:pt idx="32">
                  <c:v>12320</c:v>
                </c:pt>
                <c:pt idx="33">
                  <c:v>13218</c:v>
                </c:pt>
                <c:pt idx="34">
                  <c:v>14840</c:v>
                </c:pt>
                <c:pt idx="35">
                  <c:v>5912</c:v>
                </c:pt>
                <c:pt idx="36">
                  <c:v>613</c:v>
                </c:pt>
                <c:pt idx="37">
                  <c:v>227</c:v>
                </c:pt>
                <c:pt idx="38">
                  <c:v>5558</c:v>
                </c:pt>
                <c:pt idx="39">
                  <c:v>9641</c:v>
                </c:pt>
                <c:pt idx="40">
                  <c:v>21451</c:v>
                </c:pt>
                <c:pt idx="41">
                  <c:v>25382</c:v>
                </c:pt>
                <c:pt idx="42">
                  <c:v>24732</c:v>
                </c:pt>
                <c:pt idx="43">
                  <c:v>23278</c:v>
                </c:pt>
                <c:pt idx="44">
                  <c:v>15155</c:v>
                </c:pt>
                <c:pt idx="45">
                  <c:v>16883</c:v>
                </c:pt>
                <c:pt idx="46">
                  <c:v>26903</c:v>
                </c:pt>
                <c:pt idx="47">
                  <c:v>26749</c:v>
                </c:pt>
                <c:pt idx="48">
                  <c:v>34552</c:v>
                </c:pt>
                <c:pt idx="49">
                  <c:v>64235</c:v>
                </c:pt>
                <c:pt idx="50">
                  <c:v>102616</c:v>
                </c:pt>
                <c:pt idx="51">
                  <c:v>146644</c:v>
                </c:pt>
                <c:pt idx="52">
                  <c:v>9188</c:v>
                </c:pt>
                <c:pt idx="53">
                  <c:v>19874</c:v>
                </c:pt>
                <c:pt idx="54">
                  <c:v>12809</c:v>
                </c:pt>
                <c:pt idx="55">
                  <c:v>6377</c:v>
                </c:pt>
                <c:pt idx="56">
                  <c:v>18518</c:v>
                </c:pt>
                <c:pt idx="57">
                  <c:v>32674</c:v>
                </c:pt>
                <c:pt idx="58">
                  <c:v>37375</c:v>
                </c:pt>
                <c:pt idx="59">
                  <c:v>59320</c:v>
                </c:pt>
                <c:pt idx="60">
                  <c:v>52268</c:v>
                </c:pt>
                <c:pt idx="61">
                  <c:v>48538</c:v>
                </c:pt>
                <c:pt idx="62">
                  <c:v>38347</c:v>
                </c:pt>
                <c:pt idx="63">
                  <c:v>30372</c:v>
                </c:pt>
                <c:pt idx="64">
                  <c:v>23753</c:v>
                </c:pt>
                <c:pt idx="65">
                  <c:v>24122</c:v>
                </c:pt>
                <c:pt idx="66">
                  <c:v>23099</c:v>
                </c:pt>
                <c:pt idx="67">
                  <c:v>26870</c:v>
                </c:pt>
                <c:pt idx="68">
                  <c:v>19885</c:v>
                </c:pt>
                <c:pt idx="69">
                  <c:v>20776</c:v>
                </c:pt>
                <c:pt idx="70">
                  <c:v>19802</c:v>
                </c:pt>
                <c:pt idx="71">
                  <c:v>19626</c:v>
                </c:pt>
                <c:pt idx="72">
                  <c:v>13708</c:v>
                </c:pt>
                <c:pt idx="73">
                  <c:v>283</c:v>
                </c:pt>
                <c:pt idx="74">
                  <c:v>422</c:v>
                </c:pt>
                <c:pt idx="75">
                  <c:v>303</c:v>
                </c:pt>
                <c:pt idx="76">
                  <c:v>719</c:v>
                </c:pt>
                <c:pt idx="77">
                  <c:v>232</c:v>
                </c:pt>
                <c:pt idx="78">
                  <c:v>630</c:v>
                </c:pt>
                <c:pt idx="79">
                  <c:v>11609</c:v>
                </c:pt>
                <c:pt idx="80">
                  <c:v>21871</c:v>
                </c:pt>
                <c:pt idx="81">
                  <c:v>22126</c:v>
                </c:pt>
                <c:pt idx="82">
                  <c:v>20762</c:v>
                </c:pt>
                <c:pt idx="83">
                  <c:v>5906</c:v>
                </c:pt>
                <c:pt idx="84">
                  <c:v>4807</c:v>
                </c:pt>
                <c:pt idx="85">
                  <c:v>356</c:v>
                </c:pt>
                <c:pt idx="86">
                  <c:v>3278</c:v>
                </c:pt>
                <c:pt idx="87">
                  <c:v>453</c:v>
                </c:pt>
                <c:pt idx="88">
                  <c:v>521</c:v>
                </c:pt>
                <c:pt idx="89">
                  <c:v>423</c:v>
                </c:pt>
                <c:pt idx="90">
                  <c:v>5675</c:v>
                </c:pt>
                <c:pt idx="91">
                  <c:v>12525</c:v>
                </c:pt>
                <c:pt idx="92">
                  <c:v>23332</c:v>
                </c:pt>
                <c:pt idx="93">
                  <c:v>31963</c:v>
                </c:pt>
                <c:pt idx="94">
                  <c:v>20877</c:v>
                </c:pt>
                <c:pt idx="95">
                  <c:v>10671</c:v>
                </c:pt>
                <c:pt idx="96">
                  <c:v>13495</c:v>
                </c:pt>
                <c:pt idx="97">
                  <c:v>39680</c:v>
                </c:pt>
                <c:pt idx="98">
                  <c:v>93818</c:v>
                </c:pt>
                <c:pt idx="99">
                  <c:v>103439</c:v>
                </c:pt>
                <c:pt idx="100">
                  <c:v>114095</c:v>
                </c:pt>
                <c:pt idx="101">
                  <c:v>129713</c:v>
                </c:pt>
                <c:pt idx="102">
                  <c:v>164986</c:v>
                </c:pt>
                <c:pt idx="103">
                  <c:v>275385</c:v>
                </c:pt>
                <c:pt idx="104">
                  <c:v>84722</c:v>
                </c:pt>
                <c:pt idx="105">
                  <c:v>73283</c:v>
                </c:pt>
                <c:pt idx="106">
                  <c:v>71761</c:v>
                </c:pt>
                <c:pt idx="107">
                  <c:v>63952</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61566</c:v>
                </c:pt>
                <c:pt idx="1">
                  <c:v>61170</c:v>
                </c:pt>
                <c:pt idx="2">
                  <c:v>66702</c:v>
                </c:pt>
                <c:pt idx="3">
                  <c:v>67722</c:v>
                </c:pt>
                <c:pt idx="4">
                  <c:v>71638</c:v>
                </c:pt>
                <c:pt idx="5">
                  <c:v>69750</c:v>
                </c:pt>
                <c:pt idx="6">
                  <c:v>63344</c:v>
                </c:pt>
                <c:pt idx="7">
                  <c:v>61562</c:v>
                </c:pt>
                <c:pt idx="8">
                  <c:v>59626</c:v>
                </c:pt>
                <c:pt idx="9">
                  <c:v>56366</c:v>
                </c:pt>
                <c:pt idx="10">
                  <c:v>44254</c:v>
                </c:pt>
                <c:pt idx="11">
                  <c:v>37130</c:v>
                </c:pt>
                <c:pt idx="12">
                  <c:v>29910</c:v>
                </c:pt>
                <c:pt idx="13">
                  <c:v>26064</c:v>
                </c:pt>
                <c:pt idx="14">
                  <c:v>20988</c:v>
                </c:pt>
                <c:pt idx="15">
                  <c:v>48042</c:v>
                </c:pt>
                <c:pt idx="16">
                  <c:v>71042</c:v>
                </c:pt>
                <c:pt idx="17">
                  <c:v>80096</c:v>
                </c:pt>
                <c:pt idx="18">
                  <c:v>77012</c:v>
                </c:pt>
                <c:pt idx="19">
                  <c:v>76214</c:v>
                </c:pt>
                <c:pt idx="20">
                  <c:v>79650</c:v>
                </c:pt>
                <c:pt idx="21">
                  <c:v>84564</c:v>
                </c:pt>
                <c:pt idx="22">
                  <c:v>84620</c:v>
                </c:pt>
                <c:pt idx="23">
                  <c:v>82700</c:v>
                </c:pt>
                <c:pt idx="24">
                  <c:v>80707</c:v>
                </c:pt>
                <c:pt idx="25">
                  <c:v>84221</c:v>
                </c:pt>
                <c:pt idx="26">
                  <c:v>86608</c:v>
                </c:pt>
                <c:pt idx="27">
                  <c:v>84202</c:v>
                </c:pt>
                <c:pt idx="28">
                  <c:v>82800</c:v>
                </c:pt>
                <c:pt idx="29">
                  <c:v>81044</c:v>
                </c:pt>
                <c:pt idx="30">
                  <c:v>89110</c:v>
                </c:pt>
                <c:pt idx="31">
                  <c:v>84362</c:v>
                </c:pt>
                <c:pt idx="32">
                  <c:v>84124</c:v>
                </c:pt>
                <c:pt idx="33">
                  <c:v>82090</c:v>
                </c:pt>
                <c:pt idx="34">
                  <c:v>83732</c:v>
                </c:pt>
                <c:pt idx="35">
                  <c:v>82390</c:v>
                </c:pt>
                <c:pt idx="36">
                  <c:v>76510</c:v>
                </c:pt>
                <c:pt idx="37">
                  <c:v>77684</c:v>
                </c:pt>
                <c:pt idx="38">
                  <c:v>77686</c:v>
                </c:pt>
                <c:pt idx="39">
                  <c:v>81302</c:v>
                </c:pt>
                <c:pt idx="40">
                  <c:v>77286</c:v>
                </c:pt>
                <c:pt idx="41">
                  <c:v>76338</c:v>
                </c:pt>
                <c:pt idx="42">
                  <c:v>76620</c:v>
                </c:pt>
                <c:pt idx="43">
                  <c:v>80000</c:v>
                </c:pt>
                <c:pt idx="44">
                  <c:v>81822</c:v>
                </c:pt>
                <c:pt idx="45">
                  <c:v>77134</c:v>
                </c:pt>
                <c:pt idx="46">
                  <c:v>73362</c:v>
                </c:pt>
                <c:pt idx="47">
                  <c:v>80000</c:v>
                </c:pt>
                <c:pt idx="48">
                  <c:v>83452</c:v>
                </c:pt>
                <c:pt idx="49">
                  <c:v>81266</c:v>
                </c:pt>
                <c:pt idx="50">
                  <c:v>93586</c:v>
                </c:pt>
                <c:pt idx="51">
                  <c:v>71960</c:v>
                </c:pt>
                <c:pt idx="52">
                  <c:v>82048</c:v>
                </c:pt>
                <c:pt idx="53">
                  <c:v>77178</c:v>
                </c:pt>
                <c:pt idx="54">
                  <c:v>71580</c:v>
                </c:pt>
                <c:pt idx="55">
                  <c:v>74456</c:v>
                </c:pt>
                <c:pt idx="56">
                  <c:v>76648</c:v>
                </c:pt>
                <c:pt idx="57">
                  <c:v>77172</c:v>
                </c:pt>
                <c:pt idx="58">
                  <c:v>73668</c:v>
                </c:pt>
                <c:pt idx="59">
                  <c:v>77524</c:v>
                </c:pt>
                <c:pt idx="60">
                  <c:v>81326</c:v>
                </c:pt>
                <c:pt idx="61">
                  <c:v>81752</c:v>
                </c:pt>
                <c:pt idx="62">
                  <c:v>77696</c:v>
                </c:pt>
                <c:pt idx="63">
                  <c:v>73984</c:v>
                </c:pt>
                <c:pt idx="64">
                  <c:v>76520</c:v>
                </c:pt>
                <c:pt idx="65">
                  <c:v>79506</c:v>
                </c:pt>
                <c:pt idx="66">
                  <c:v>79171</c:v>
                </c:pt>
                <c:pt idx="67">
                  <c:v>79030</c:v>
                </c:pt>
                <c:pt idx="68">
                  <c:v>76806</c:v>
                </c:pt>
                <c:pt idx="69">
                  <c:v>82506</c:v>
                </c:pt>
                <c:pt idx="70">
                  <c:v>80032</c:v>
                </c:pt>
                <c:pt idx="71">
                  <c:v>74224</c:v>
                </c:pt>
                <c:pt idx="72">
                  <c:v>79198</c:v>
                </c:pt>
                <c:pt idx="73">
                  <c:v>77378</c:v>
                </c:pt>
                <c:pt idx="74">
                  <c:v>85692</c:v>
                </c:pt>
                <c:pt idx="75">
                  <c:v>79574</c:v>
                </c:pt>
                <c:pt idx="76">
                  <c:v>79338</c:v>
                </c:pt>
                <c:pt idx="77">
                  <c:v>76834</c:v>
                </c:pt>
                <c:pt idx="78">
                  <c:v>81276</c:v>
                </c:pt>
                <c:pt idx="79">
                  <c:v>72604</c:v>
                </c:pt>
                <c:pt idx="80">
                  <c:v>73024</c:v>
                </c:pt>
                <c:pt idx="81">
                  <c:v>74804</c:v>
                </c:pt>
                <c:pt idx="82">
                  <c:v>82432</c:v>
                </c:pt>
                <c:pt idx="83">
                  <c:v>80716</c:v>
                </c:pt>
                <c:pt idx="84">
                  <c:v>80870</c:v>
                </c:pt>
                <c:pt idx="85">
                  <c:v>79720</c:v>
                </c:pt>
                <c:pt idx="86">
                  <c:v>81190</c:v>
                </c:pt>
                <c:pt idx="87">
                  <c:v>81766</c:v>
                </c:pt>
                <c:pt idx="88">
                  <c:v>75946</c:v>
                </c:pt>
                <c:pt idx="89">
                  <c:v>77010</c:v>
                </c:pt>
                <c:pt idx="90">
                  <c:v>74544</c:v>
                </c:pt>
                <c:pt idx="91">
                  <c:v>83148</c:v>
                </c:pt>
                <c:pt idx="92">
                  <c:v>75193</c:v>
                </c:pt>
                <c:pt idx="93">
                  <c:v>77335</c:v>
                </c:pt>
                <c:pt idx="94">
                  <c:v>75076</c:v>
                </c:pt>
                <c:pt idx="95">
                  <c:v>77822</c:v>
                </c:pt>
                <c:pt idx="96">
                  <c:v>80010</c:v>
                </c:pt>
                <c:pt idx="97">
                  <c:v>76036</c:v>
                </c:pt>
                <c:pt idx="98">
                  <c:v>74462</c:v>
                </c:pt>
                <c:pt idx="99">
                  <c:v>68916</c:v>
                </c:pt>
                <c:pt idx="100">
                  <c:v>79215</c:v>
                </c:pt>
                <c:pt idx="101">
                  <c:v>66280</c:v>
                </c:pt>
                <c:pt idx="102">
                  <c:v>61982</c:v>
                </c:pt>
                <c:pt idx="103">
                  <c:v>55060</c:v>
                </c:pt>
                <c:pt idx="104">
                  <c:v>55320</c:v>
                </c:pt>
                <c:pt idx="105">
                  <c:v>50102</c:v>
                </c:pt>
                <c:pt idx="106">
                  <c:v>62660</c:v>
                </c:pt>
                <c:pt idx="107">
                  <c:v>80610</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14</c:v>
                </c:pt>
                <c:pt idx="1">
                  <c:v>200</c:v>
                </c:pt>
                <c:pt idx="2">
                  <c:v>276</c:v>
                </c:pt>
                <c:pt idx="3">
                  <c:v>408</c:v>
                </c:pt>
                <c:pt idx="4">
                  <c:v>252</c:v>
                </c:pt>
                <c:pt idx="5">
                  <c:v>290</c:v>
                </c:pt>
                <c:pt idx="6">
                  <c:v>280</c:v>
                </c:pt>
                <c:pt idx="7">
                  <c:v>178</c:v>
                </c:pt>
                <c:pt idx="8">
                  <c:v>498</c:v>
                </c:pt>
                <c:pt idx="9">
                  <c:v>366</c:v>
                </c:pt>
                <c:pt idx="10">
                  <c:v>268</c:v>
                </c:pt>
                <c:pt idx="11">
                  <c:v>358</c:v>
                </c:pt>
                <c:pt idx="12">
                  <c:v>258</c:v>
                </c:pt>
                <c:pt idx="13">
                  <c:v>190</c:v>
                </c:pt>
                <c:pt idx="14">
                  <c:v>17780</c:v>
                </c:pt>
                <c:pt idx="15">
                  <c:v>19184</c:v>
                </c:pt>
                <c:pt idx="16">
                  <c:v>8968</c:v>
                </c:pt>
                <c:pt idx="17">
                  <c:v>6922</c:v>
                </c:pt>
                <c:pt idx="18">
                  <c:v>4914</c:v>
                </c:pt>
                <c:pt idx="19">
                  <c:v>3306</c:v>
                </c:pt>
                <c:pt idx="20">
                  <c:v>2578</c:v>
                </c:pt>
                <c:pt idx="21">
                  <c:v>1840</c:v>
                </c:pt>
                <c:pt idx="22">
                  <c:v>2114</c:v>
                </c:pt>
                <c:pt idx="23">
                  <c:v>1046</c:v>
                </c:pt>
                <c:pt idx="24">
                  <c:v>972</c:v>
                </c:pt>
                <c:pt idx="25">
                  <c:v>760</c:v>
                </c:pt>
                <c:pt idx="26">
                  <c:v>746</c:v>
                </c:pt>
                <c:pt idx="27">
                  <c:v>450</c:v>
                </c:pt>
                <c:pt idx="28">
                  <c:v>552</c:v>
                </c:pt>
                <c:pt idx="29">
                  <c:v>600</c:v>
                </c:pt>
                <c:pt idx="30">
                  <c:v>562</c:v>
                </c:pt>
                <c:pt idx="31">
                  <c:v>380</c:v>
                </c:pt>
                <c:pt idx="32">
                  <c:v>548</c:v>
                </c:pt>
                <c:pt idx="33">
                  <c:v>358</c:v>
                </c:pt>
                <c:pt idx="34">
                  <c:v>410</c:v>
                </c:pt>
                <c:pt idx="35">
                  <c:v>308</c:v>
                </c:pt>
                <c:pt idx="36">
                  <c:v>460</c:v>
                </c:pt>
                <c:pt idx="37">
                  <c:v>372</c:v>
                </c:pt>
                <c:pt idx="38">
                  <c:v>754</c:v>
                </c:pt>
                <c:pt idx="39">
                  <c:v>1048</c:v>
                </c:pt>
                <c:pt idx="40">
                  <c:v>696</c:v>
                </c:pt>
                <c:pt idx="41">
                  <c:v>980</c:v>
                </c:pt>
                <c:pt idx="42">
                  <c:v>1106</c:v>
                </c:pt>
                <c:pt idx="43">
                  <c:v>1056</c:v>
                </c:pt>
                <c:pt idx="44">
                  <c:v>1068</c:v>
                </c:pt>
                <c:pt idx="45">
                  <c:v>1190</c:v>
                </c:pt>
                <c:pt idx="46">
                  <c:v>1148</c:v>
                </c:pt>
                <c:pt idx="47">
                  <c:v>1140</c:v>
                </c:pt>
                <c:pt idx="48">
                  <c:v>1360</c:v>
                </c:pt>
                <c:pt idx="49">
                  <c:v>1124</c:v>
                </c:pt>
                <c:pt idx="50">
                  <c:v>1306</c:v>
                </c:pt>
                <c:pt idx="51">
                  <c:v>970</c:v>
                </c:pt>
                <c:pt idx="52">
                  <c:v>1058</c:v>
                </c:pt>
                <c:pt idx="53">
                  <c:v>1204</c:v>
                </c:pt>
                <c:pt idx="54">
                  <c:v>1090</c:v>
                </c:pt>
                <c:pt idx="55">
                  <c:v>1092</c:v>
                </c:pt>
                <c:pt idx="56">
                  <c:v>1070</c:v>
                </c:pt>
                <c:pt idx="57">
                  <c:v>1230</c:v>
                </c:pt>
                <c:pt idx="58">
                  <c:v>950</c:v>
                </c:pt>
                <c:pt idx="59">
                  <c:v>1362</c:v>
                </c:pt>
                <c:pt idx="60">
                  <c:v>1046</c:v>
                </c:pt>
                <c:pt idx="61">
                  <c:v>1100</c:v>
                </c:pt>
                <c:pt idx="62">
                  <c:v>1224</c:v>
                </c:pt>
                <c:pt idx="63">
                  <c:v>968</c:v>
                </c:pt>
                <c:pt idx="64">
                  <c:v>1164</c:v>
                </c:pt>
                <c:pt idx="65">
                  <c:v>1072</c:v>
                </c:pt>
                <c:pt idx="66">
                  <c:v>952</c:v>
                </c:pt>
                <c:pt idx="67">
                  <c:v>1084</c:v>
                </c:pt>
                <c:pt idx="68">
                  <c:v>1016</c:v>
                </c:pt>
                <c:pt idx="69">
                  <c:v>1042</c:v>
                </c:pt>
                <c:pt idx="70">
                  <c:v>1062</c:v>
                </c:pt>
                <c:pt idx="71">
                  <c:v>894</c:v>
                </c:pt>
                <c:pt idx="72">
                  <c:v>884</c:v>
                </c:pt>
                <c:pt idx="73">
                  <c:v>848</c:v>
                </c:pt>
                <c:pt idx="74">
                  <c:v>818</c:v>
                </c:pt>
                <c:pt idx="75">
                  <c:v>1206</c:v>
                </c:pt>
                <c:pt idx="76">
                  <c:v>978</c:v>
                </c:pt>
                <c:pt idx="77">
                  <c:v>954</c:v>
                </c:pt>
                <c:pt idx="78">
                  <c:v>1002</c:v>
                </c:pt>
                <c:pt idx="79">
                  <c:v>962</c:v>
                </c:pt>
                <c:pt idx="80">
                  <c:v>666</c:v>
                </c:pt>
                <c:pt idx="81">
                  <c:v>814</c:v>
                </c:pt>
                <c:pt idx="82">
                  <c:v>924</c:v>
                </c:pt>
                <c:pt idx="83">
                  <c:v>748</c:v>
                </c:pt>
                <c:pt idx="84">
                  <c:v>914</c:v>
                </c:pt>
                <c:pt idx="85">
                  <c:v>1024</c:v>
                </c:pt>
                <c:pt idx="86">
                  <c:v>646</c:v>
                </c:pt>
                <c:pt idx="87">
                  <c:v>966</c:v>
                </c:pt>
                <c:pt idx="88">
                  <c:v>810</c:v>
                </c:pt>
                <c:pt idx="89">
                  <c:v>874</c:v>
                </c:pt>
                <c:pt idx="90">
                  <c:v>917</c:v>
                </c:pt>
                <c:pt idx="91">
                  <c:v>914</c:v>
                </c:pt>
                <c:pt idx="92">
                  <c:v>872</c:v>
                </c:pt>
                <c:pt idx="93">
                  <c:v>970</c:v>
                </c:pt>
                <c:pt idx="94">
                  <c:v>630</c:v>
                </c:pt>
                <c:pt idx="95">
                  <c:v>808</c:v>
                </c:pt>
                <c:pt idx="96">
                  <c:v>820</c:v>
                </c:pt>
                <c:pt idx="97">
                  <c:v>686</c:v>
                </c:pt>
                <c:pt idx="98">
                  <c:v>822</c:v>
                </c:pt>
                <c:pt idx="99">
                  <c:v>696</c:v>
                </c:pt>
                <c:pt idx="100">
                  <c:v>896</c:v>
                </c:pt>
                <c:pt idx="101">
                  <c:v>18368</c:v>
                </c:pt>
                <c:pt idx="102">
                  <c:v>26592</c:v>
                </c:pt>
                <c:pt idx="103">
                  <c:v>16054</c:v>
                </c:pt>
                <c:pt idx="104">
                  <c:v>22270</c:v>
                </c:pt>
                <c:pt idx="105">
                  <c:v>14890</c:v>
                </c:pt>
                <c:pt idx="106">
                  <c:v>7150</c:v>
                </c:pt>
                <c:pt idx="107">
                  <c:v>3384</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2</c:v>
                </c:pt>
                <c:pt idx="1">
                  <c:v>330</c:v>
                </c:pt>
                <c:pt idx="2">
                  <c:v>778</c:v>
                </c:pt>
                <c:pt idx="3">
                  <c:v>1332</c:v>
                </c:pt>
                <c:pt idx="4">
                  <c:v>1486</c:v>
                </c:pt>
                <c:pt idx="5">
                  <c:v>1700</c:v>
                </c:pt>
                <c:pt idx="6">
                  <c:v>1514</c:v>
                </c:pt>
                <c:pt idx="7">
                  <c:v>1778</c:v>
                </c:pt>
                <c:pt idx="8">
                  <c:v>2102</c:v>
                </c:pt>
                <c:pt idx="9">
                  <c:v>1846</c:v>
                </c:pt>
                <c:pt idx="10">
                  <c:v>1734</c:v>
                </c:pt>
                <c:pt idx="11">
                  <c:v>1698</c:v>
                </c:pt>
                <c:pt idx="12">
                  <c:v>1798</c:v>
                </c:pt>
                <c:pt idx="13">
                  <c:v>2186</c:v>
                </c:pt>
                <c:pt idx="14">
                  <c:v>2396</c:v>
                </c:pt>
                <c:pt idx="15">
                  <c:v>2182</c:v>
                </c:pt>
                <c:pt idx="16">
                  <c:v>2204</c:v>
                </c:pt>
                <c:pt idx="17">
                  <c:v>2348</c:v>
                </c:pt>
                <c:pt idx="18">
                  <c:v>2186</c:v>
                </c:pt>
                <c:pt idx="19">
                  <c:v>2094</c:v>
                </c:pt>
                <c:pt idx="20">
                  <c:v>2264</c:v>
                </c:pt>
                <c:pt idx="21">
                  <c:v>2270</c:v>
                </c:pt>
                <c:pt idx="22">
                  <c:v>2370</c:v>
                </c:pt>
                <c:pt idx="23">
                  <c:v>2356</c:v>
                </c:pt>
                <c:pt idx="24">
                  <c:v>2544</c:v>
                </c:pt>
                <c:pt idx="25">
                  <c:v>2354</c:v>
                </c:pt>
                <c:pt idx="26">
                  <c:v>2448</c:v>
                </c:pt>
                <c:pt idx="27">
                  <c:v>2426</c:v>
                </c:pt>
                <c:pt idx="28">
                  <c:v>2544</c:v>
                </c:pt>
                <c:pt idx="29">
                  <c:v>2430</c:v>
                </c:pt>
                <c:pt idx="30">
                  <c:v>2634</c:v>
                </c:pt>
                <c:pt idx="31">
                  <c:v>2528</c:v>
                </c:pt>
                <c:pt idx="32">
                  <c:v>2738</c:v>
                </c:pt>
                <c:pt idx="33">
                  <c:v>2626</c:v>
                </c:pt>
                <c:pt idx="34">
                  <c:v>2488</c:v>
                </c:pt>
                <c:pt idx="35">
                  <c:v>2342</c:v>
                </c:pt>
                <c:pt idx="36">
                  <c:v>2354</c:v>
                </c:pt>
                <c:pt idx="37">
                  <c:v>2334</c:v>
                </c:pt>
                <c:pt idx="38">
                  <c:v>2318</c:v>
                </c:pt>
                <c:pt idx="39">
                  <c:v>2420</c:v>
                </c:pt>
                <c:pt idx="40">
                  <c:v>2448</c:v>
                </c:pt>
                <c:pt idx="41">
                  <c:v>2440</c:v>
                </c:pt>
                <c:pt idx="42">
                  <c:v>2252</c:v>
                </c:pt>
                <c:pt idx="43">
                  <c:v>2448</c:v>
                </c:pt>
                <c:pt idx="44">
                  <c:v>2442</c:v>
                </c:pt>
                <c:pt idx="45">
                  <c:v>2402</c:v>
                </c:pt>
                <c:pt idx="46">
                  <c:v>2106</c:v>
                </c:pt>
                <c:pt idx="47">
                  <c:v>2224</c:v>
                </c:pt>
                <c:pt idx="48">
                  <c:v>2168</c:v>
                </c:pt>
                <c:pt idx="49">
                  <c:v>1368</c:v>
                </c:pt>
                <c:pt idx="50">
                  <c:v>886</c:v>
                </c:pt>
                <c:pt idx="51">
                  <c:v>632</c:v>
                </c:pt>
                <c:pt idx="52">
                  <c:v>390</c:v>
                </c:pt>
                <c:pt idx="53">
                  <c:v>632</c:v>
                </c:pt>
                <c:pt idx="54">
                  <c:v>380</c:v>
                </c:pt>
                <c:pt idx="55">
                  <c:v>148</c:v>
                </c:pt>
                <c:pt idx="56">
                  <c:v>142</c:v>
                </c:pt>
                <c:pt idx="57">
                  <c:v>72</c:v>
                </c:pt>
                <c:pt idx="58">
                  <c:v>150</c:v>
                </c:pt>
                <c:pt idx="59">
                  <c:v>164</c:v>
                </c:pt>
                <c:pt idx="60">
                  <c:v>200</c:v>
                </c:pt>
                <c:pt idx="61">
                  <c:v>180</c:v>
                </c:pt>
                <c:pt idx="62">
                  <c:v>206</c:v>
                </c:pt>
                <c:pt idx="63">
                  <c:v>90</c:v>
                </c:pt>
                <c:pt idx="64">
                  <c:v>178</c:v>
                </c:pt>
                <c:pt idx="65">
                  <c:v>56</c:v>
                </c:pt>
                <c:pt idx="66">
                  <c:v>112</c:v>
                </c:pt>
                <c:pt idx="67">
                  <c:v>88</c:v>
                </c:pt>
                <c:pt idx="68">
                  <c:v>56</c:v>
                </c:pt>
                <c:pt idx="69">
                  <c:v>112</c:v>
                </c:pt>
                <c:pt idx="70">
                  <c:v>42</c:v>
                </c:pt>
                <c:pt idx="71">
                  <c:v>40</c:v>
                </c:pt>
                <c:pt idx="72">
                  <c:v>98</c:v>
                </c:pt>
                <c:pt idx="73">
                  <c:v>50</c:v>
                </c:pt>
                <c:pt idx="74">
                  <c:v>62</c:v>
                </c:pt>
                <c:pt idx="75">
                  <c:v>48</c:v>
                </c:pt>
                <c:pt idx="76">
                  <c:v>28</c:v>
                </c:pt>
                <c:pt idx="77">
                  <c:v>32</c:v>
                </c:pt>
                <c:pt idx="78">
                  <c:v>24</c:v>
                </c:pt>
                <c:pt idx="79">
                  <c:v>12</c:v>
                </c:pt>
                <c:pt idx="80">
                  <c:v>18</c:v>
                </c:pt>
                <c:pt idx="81">
                  <c:v>16</c:v>
                </c:pt>
                <c:pt idx="82">
                  <c:v>12</c:v>
                </c:pt>
                <c:pt idx="83">
                  <c:v>20</c:v>
                </c:pt>
                <c:pt idx="84">
                  <c:v>8</c:v>
                </c:pt>
                <c:pt idx="85">
                  <c:v>28</c:v>
                </c:pt>
                <c:pt idx="86">
                  <c:v>8</c:v>
                </c:pt>
                <c:pt idx="87">
                  <c:v>44</c:v>
                </c:pt>
                <c:pt idx="88">
                  <c:v>22</c:v>
                </c:pt>
                <c:pt idx="89">
                  <c:v>12</c:v>
                </c:pt>
                <c:pt idx="90">
                  <c:v>12</c:v>
                </c:pt>
                <c:pt idx="91">
                  <c:v>4</c:v>
                </c:pt>
                <c:pt idx="92">
                  <c:v>2</c:v>
                </c:pt>
                <c:pt idx="93">
                  <c:v>16</c:v>
                </c:pt>
                <c:pt idx="94">
                  <c:v>4</c:v>
                </c:pt>
                <c:pt idx="95">
                  <c:v>4</c:v>
                </c:pt>
                <c:pt idx="96">
                  <c:v>6</c:v>
                </c:pt>
                <c:pt idx="97">
                  <c:v>24</c:v>
                </c:pt>
                <c:pt idx="98">
                  <c:v>8</c:v>
                </c:pt>
                <c:pt idx="99">
                  <c:v>4</c:v>
                </c:pt>
                <c:pt idx="100">
                  <c:v>0</c:v>
                </c:pt>
                <c:pt idx="101">
                  <c:v>32</c:v>
                </c:pt>
                <c:pt idx="102">
                  <c:v>10</c:v>
                </c:pt>
                <c:pt idx="103">
                  <c:v>36</c:v>
                </c:pt>
                <c:pt idx="104">
                  <c:v>62</c:v>
                </c:pt>
                <c:pt idx="105">
                  <c:v>190</c:v>
                </c:pt>
                <c:pt idx="106">
                  <c:v>922</c:v>
                </c:pt>
                <c:pt idx="107">
                  <c:v>1596</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54</c:v>
                </c:pt>
                <c:pt idx="1">
                  <c:v>12</c:v>
                </c:pt>
                <c:pt idx="2">
                  <c:v>30</c:v>
                </c:pt>
                <c:pt idx="3">
                  <c:v>32</c:v>
                </c:pt>
                <c:pt idx="4">
                  <c:v>10</c:v>
                </c:pt>
                <c:pt idx="5">
                  <c:v>94</c:v>
                </c:pt>
                <c:pt idx="6">
                  <c:v>152</c:v>
                </c:pt>
                <c:pt idx="7">
                  <c:v>176</c:v>
                </c:pt>
                <c:pt idx="8">
                  <c:v>74</c:v>
                </c:pt>
                <c:pt idx="9">
                  <c:v>118</c:v>
                </c:pt>
                <c:pt idx="10">
                  <c:v>148</c:v>
                </c:pt>
                <c:pt idx="11">
                  <c:v>154</c:v>
                </c:pt>
                <c:pt idx="12">
                  <c:v>180</c:v>
                </c:pt>
                <c:pt idx="13">
                  <c:v>184</c:v>
                </c:pt>
                <c:pt idx="14">
                  <c:v>98</c:v>
                </c:pt>
                <c:pt idx="15">
                  <c:v>158</c:v>
                </c:pt>
                <c:pt idx="16">
                  <c:v>136</c:v>
                </c:pt>
                <c:pt idx="17">
                  <c:v>172</c:v>
                </c:pt>
                <c:pt idx="18">
                  <c:v>152</c:v>
                </c:pt>
                <c:pt idx="19">
                  <c:v>134</c:v>
                </c:pt>
                <c:pt idx="20">
                  <c:v>196</c:v>
                </c:pt>
                <c:pt idx="21">
                  <c:v>128</c:v>
                </c:pt>
                <c:pt idx="22">
                  <c:v>218</c:v>
                </c:pt>
                <c:pt idx="23">
                  <c:v>218</c:v>
                </c:pt>
                <c:pt idx="24">
                  <c:v>152</c:v>
                </c:pt>
                <c:pt idx="25">
                  <c:v>184</c:v>
                </c:pt>
                <c:pt idx="26">
                  <c:v>246</c:v>
                </c:pt>
                <c:pt idx="27">
                  <c:v>148</c:v>
                </c:pt>
                <c:pt idx="28">
                  <c:v>162</c:v>
                </c:pt>
                <c:pt idx="29">
                  <c:v>166</c:v>
                </c:pt>
                <c:pt idx="30">
                  <c:v>120</c:v>
                </c:pt>
                <c:pt idx="31">
                  <c:v>144</c:v>
                </c:pt>
                <c:pt idx="32">
                  <c:v>158</c:v>
                </c:pt>
                <c:pt idx="33">
                  <c:v>86</c:v>
                </c:pt>
                <c:pt idx="34">
                  <c:v>84</c:v>
                </c:pt>
                <c:pt idx="35">
                  <c:v>104</c:v>
                </c:pt>
                <c:pt idx="36">
                  <c:v>160</c:v>
                </c:pt>
                <c:pt idx="37">
                  <c:v>164</c:v>
                </c:pt>
                <c:pt idx="38">
                  <c:v>134</c:v>
                </c:pt>
                <c:pt idx="39">
                  <c:v>184</c:v>
                </c:pt>
                <c:pt idx="40">
                  <c:v>880</c:v>
                </c:pt>
                <c:pt idx="41">
                  <c:v>1438</c:v>
                </c:pt>
                <c:pt idx="42">
                  <c:v>1648</c:v>
                </c:pt>
                <c:pt idx="43">
                  <c:v>1730</c:v>
                </c:pt>
                <c:pt idx="44">
                  <c:v>2172</c:v>
                </c:pt>
                <c:pt idx="45">
                  <c:v>2672</c:v>
                </c:pt>
                <c:pt idx="46">
                  <c:v>5026</c:v>
                </c:pt>
                <c:pt idx="47">
                  <c:v>4780</c:v>
                </c:pt>
                <c:pt idx="48">
                  <c:v>7410</c:v>
                </c:pt>
                <c:pt idx="49">
                  <c:v>12784</c:v>
                </c:pt>
                <c:pt idx="50">
                  <c:v>31090</c:v>
                </c:pt>
                <c:pt idx="51">
                  <c:v>101588</c:v>
                </c:pt>
                <c:pt idx="52">
                  <c:v>25656</c:v>
                </c:pt>
                <c:pt idx="53">
                  <c:v>7244</c:v>
                </c:pt>
                <c:pt idx="54">
                  <c:v>5920</c:v>
                </c:pt>
                <c:pt idx="55">
                  <c:v>4752</c:v>
                </c:pt>
                <c:pt idx="56">
                  <c:v>2256</c:v>
                </c:pt>
                <c:pt idx="57">
                  <c:v>1500</c:v>
                </c:pt>
                <c:pt idx="58">
                  <c:v>790</c:v>
                </c:pt>
                <c:pt idx="59">
                  <c:v>712</c:v>
                </c:pt>
                <c:pt idx="60">
                  <c:v>528</c:v>
                </c:pt>
                <c:pt idx="61">
                  <c:v>168</c:v>
                </c:pt>
                <c:pt idx="62">
                  <c:v>164</c:v>
                </c:pt>
                <c:pt idx="63">
                  <c:v>330</c:v>
                </c:pt>
                <c:pt idx="64">
                  <c:v>114</c:v>
                </c:pt>
                <c:pt idx="65">
                  <c:v>38</c:v>
                </c:pt>
                <c:pt idx="66">
                  <c:v>48</c:v>
                </c:pt>
                <c:pt idx="67">
                  <c:v>36</c:v>
                </c:pt>
                <c:pt idx="68">
                  <c:v>60</c:v>
                </c:pt>
                <c:pt idx="69">
                  <c:v>16</c:v>
                </c:pt>
                <c:pt idx="70">
                  <c:v>26</c:v>
                </c:pt>
                <c:pt idx="71">
                  <c:v>40</c:v>
                </c:pt>
                <c:pt idx="72">
                  <c:v>92</c:v>
                </c:pt>
                <c:pt idx="73">
                  <c:v>0</c:v>
                </c:pt>
                <c:pt idx="74">
                  <c:v>0</c:v>
                </c:pt>
                <c:pt idx="75">
                  <c:v>66</c:v>
                </c:pt>
                <c:pt idx="76">
                  <c:v>10</c:v>
                </c:pt>
                <c:pt idx="77">
                  <c:v>14</c:v>
                </c:pt>
                <c:pt idx="78">
                  <c:v>50</c:v>
                </c:pt>
                <c:pt idx="79">
                  <c:v>62</c:v>
                </c:pt>
                <c:pt idx="80">
                  <c:v>62</c:v>
                </c:pt>
                <c:pt idx="81">
                  <c:v>10</c:v>
                </c:pt>
                <c:pt idx="82">
                  <c:v>6</c:v>
                </c:pt>
                <c:pt idx="83">
                  <c:v>8</c:v>
                </c:pt>
                <c:pt idx="84">
                  <c:v>0</c:v>
                </c:pt>
                <c:pt idx="85">
                  <c:v>0</c:v>
                </c:pt>
                <c:pt idx="86">
                  <c:v>0</c:v>
                </c:pt>
                <c:pt idx="87">
                  <c:v>2</c:v>
                </c:pt>
                <c:pt idx="88">
                  <c:v>4</c:v>
                </c:pt>
                <c:pt idx="89">
                  <c:v>2</c:v>
                </c:pt>
                <c:pt idx="90">
                  <c:v>16</c:v>
                </c:pt>
                <c:pt idx="91">
                  <c:v>4</c:v>
                </c:pt>
                <c:pt idx="92">
                  <c:v>10</c:v>
                </c:pt>
                <c:pt idx="93">
                  <c:v>4</c:v>
                </c:pt>
                <c:pt idx="94">
                  <c:v>14</c:v>
                </c:pt>
                <c:pt idx="95">
                  <c:v>0</c:v>
                </c:pt>
                <c:pt idx="96">
                  <c:v>12</c:v>
                </c:pt>
                <c:pt idx="97">
                  <c:v>2</c:v>
                </c:pt>
                <c:pt idx="98">
                  <c:v>0</c:v>
                </c:pt>
                <c:pt idx="99">
                  <c:v>0</c:v>
                </c:pt>
                <c:pt idx="100">
                  <c:v>0</c:v>
                </c:pt>
                <c:pt idx="101">
                  <c:v>8</c:v>
                </c:pt>
                <c:pt idx="102">
                  <c:v>10</c:v>
                </c:pt>
                <c:pt idx="103">
                  <c:v>0</c:v>
                </c:pt>
                <c:pt idx="104">
                  <c:v>8</c:v>
                </c:pt>
                <c:pt idx="105">
                  <c:v>4</c:v>
                </c:pt>
                <c:pt idx="106">
                  <c:v>14</c:v>
                </c:pt>
                <c:pt idx="107">
                  <c:v>1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60</c:v>
                </c:pt>
                <c:pt idx="49">
                  <c:v>379089</c:v>
                </c:pt>
                <c:pt idx="50">
                  <c:v>413936</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72</c:v>
                </c:pt>
                <c:pt idx="72">
                  <c:v>298157</c:v>
                </c:pt>
                <c:pt idx="73">
                  <c:v>359221</c:v>
                </c:pt>
                <c:pt idx="74">
                  <c:v>391713</c:v>
                </c:pt>
                <c:pt idx="75">
                  <c:v>361260</c:v>
                </c:pt>
                <c:pt idx="76">
                  <c:v>363336</c:v>
                </c:pt>
                <c:pt idx="77">
                  <c:v>361611</c:v>
                </c:pt>
                <c:pt idx="78">
                  <c:v>388894</c:v>
                </c:pt>
                <c:pt idx="79">
                  <c:v>361008</c:v>
                </c:pt>
                <c:pt idx="80">
                  <c:v>356534</c:v>
                </c:pt>
                <c:pt idx="81">
                  <c:v>354533</c:v>
                </c:pt>
                <c:pt idx="82">
                  <c:v>370461</c:v>
                </c:pt>
                <c:pt idx="83">
                  <c:v>365704</c:v>
                </c:pt>
                <c:pt idx="84">
                  <c:v>362277</c:v>
                </c:pt>
                <c:pt idx="85">
                  <c:v>355521</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2A09-4FFC-9D4D-9CC3F6B2DEDD}"/>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82953276768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52</c:v>
                </c:pt>
                <c:pt idx="49">
                  <c:v>379089</c:v>
                </c:pt>
                <c:pt idx="50">
                  <c:v>413928</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64</c:v>
                </c:pt>
                <c:pt idx="72">
                  <c:v>298157</c:v>
                </c:pt>
                <c:pt idx="73">
                  <c:v>359221</c:v>
                </c:pt>
                <c:pt idx="74">
                  <c:v>391713</c:v>
                </c:pt>
                <c:pt idx="75">
                  <c:v>361260</c:v>
                </c:pt>
                <c:pt idx="76">
                  <c:v>363336</c:v>
                </c:pt>
                <c:pt idx="77">
                  <c:v>361611</c:v>
                </c:pt>
                <c:pt idx="78">
                  <c:v>388894</c:v>
                </c:pt>
                <c:pt idx="79">
                  <c:v>361008</c:v>
                </c:pt>
                <c:pt idx="80">
                  <c:v>356534</c:v>
                </c:pt>
                <c:pt idx="81">
                  <c:v>354525</c:v>
                </c:pt>
                <c:pt idx="82">
                  <c:v>370453</c:v>
                </c:pt>
                <c:pt idx="83">
                  <c:v>365704</c:v>
                </c:pt>
                <c:pt idx="84">
                  <c:v>362277</c:v>
                </c:pt>
                <c:pt idx="85">
                  <c:v>355513</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F1C-42D6-AB69-34F16F98F945}"/>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1728</c:v>
                </c:pt>
                <c:pt idx="1">
                  <c:v>833774</c:v>
                </c:pt>
                <c:pt idx="2">
                  <c:v>845152</c:v>
                </c:pt>
                <c:pt idx="3">
                  <c:v>820136</c:v>
                </c:pt>
                <c:pt idx="4">
                  <c:v>871205</c:v>
                </c:pt>
                <c:pt idx="5">
                  <c:v>883032</c:v>
                </c:pt>
                <c:pt idx="6">
                  <c:v>838691</c:v>
                </c:pt>
                <c:pt idx="7">
                  <c:v>885584</c:v>
                </c:pt>
                <c:pt idx="8">
                  <c:v>941989</c:v>
                </c:pt>
                <c:pt idx="9">
                  <c:v>924701</c:v>
                </c:pt>
                <c:pt idx="10">
                  <c:v>875805</c:v>
                </c:pt>
                <c:pt idx="11">
                  <c:v>867954</c:v>
                </c:pt>
                <c:pt idx="12">
                  <c:v>858302</c:v>
                </c:pt>
                <c:pt idx="13">
                  <c:v>948409</c:v>
                </c:pt>
                <c:pt idx="14">
                  <c:v>854430</c:v>
                </c:pt>
                <c:pt idx="15">
                  <c:v>881785</c:v>
                </c:pt>
                <c:pt idx="16">
                  <c:v>863046</c:v>
                </c:pt>
                <c:pt idx="17">
                  <c:v>944975</c:v>
                </c:pt>
                <c:pt idx="18">
                  <c:v>892579</c:v>
                </c:pt>
                <c:pt idx="19">
                  <c:v>882101</c:v>
                </c:pt>
                <c:pt idx="20">
                  <c:v>904680</c:v>
                </c:pt>
                <c:pt idx="21">
                  <c:v>958392</c:v>
                </c:pt>
                <c:pt idx="22">
                  <c:v>975643</c:v>
                </c:pt>
                <c:pt idx="23">
                  <c:v>932021</c:v>
                </c:pt>
                <c:pt idx="24">
                  <c:v>892844</c:v>
                </c:pt>
                <c:pt idx="25">
                  <c:v>916952</c:v>
                </c:pt>
                <c:pt idx="26">
                  <c:v>907521</c:v>
                </c:pt>
                <c:pt idx="27">
                  <c:v>818373</c:v>
                </c:pt>
                <c:pt idx="28">
                  <c:v>843015</c:v>
                </c:pt>
                <c:pt idx="29">
                  <c:v>910578</c:v>
                </c:pt>
                <c:pt idx="30">
                  <c:v>1000931</c:v>
                </c:pt>
                <c:pt idx="31">
                  <c:v>945773</c:v>
                </c:pt>
                <c:pt idx="32">
                  <c:v>927407</c:v>
                </c:pt>
                <c:pt idx="33">
                  <c:v>890664</c:v>
                </c:pt>
                <c:pt idx="34">
                  <c:v>916961</c:v>
                </c:pt>
                <c:pt idx="35">
                  <c:v>909542</c:v>
                </c:pt>
                <c:pt idx="36">
                  <c:v>860472</c:v>
                </c:pt>
                <c:pt idx="37">
                  <c:v>850199</c:v>
                </c:pt>
                <c:pt idx="38">
                  <c:v>844983</c:v>
                </c:pt>
                <c:pt idx="39">
                  <c:v>893182</c:v>
                </c:pt>
                <c:pt idx="40">
                  <c:v>850362</c:v>
                </c:pt>
                <c:pt idx="41">
                  <c:v>835639</c:v>
                </c:pt>
                <c:pt idx="42">
                  <c:v>824492</c:v>
                </c:pt>
                <c:pt idx="43">
                  <c:v>850692</c:v>
                </c:pt>
                <c:pt idx="44">
                  <c:v>838512</c:v>
                </c:pt>
                <c:pt idx="45">
                  <c:v>788035</c:v>
                </c:pt>
                <c:pt idx="46">
                  <c:v>747921</c:v>
                </c:pt>
                <c:pt idx="47">
                  <c:v>836127</c:v>
                </c:pt>
                <c:pt idx="48">
                  <c:v>898081</c:v>
                </c:pt>
                <c:pt idx="49">
                  <c:v>857373</c:v>
                </c:pt>
                <c:pt idx="50">
                  <c:v>910192</c:v>
                </c:pt>
                <c:pt idx="51">
                  <c:v>728699</c:v>
                </c:pt>
                <c:pt idx="52">
                  <c:v>824991</c:v>
                </c:pt>
                <c:pt idx="53">
                  <c:v>781875</c:v>
                </c:pt>
                <c:pt idx="54">
                  <c:v>748172</c:v>
                </c:pt>
                <c:pt idx="55">
                  <c:v>797534</c:v>
                </c:pt>
                <c:pt idx="56">
                  <c:v>851612</c:v>
                </c:pt>
                <c:pt idx="57">
                  <c:v>830431</c:v>
                </c:pt>
                <c:pt idx="58">
                  <c:v>790047</c:v>
                </c:pt>
                <c:pt idx="59">
                  <c:v>858906</c:v>
                </c:pt>
                <c:pt idx="60">
                  <c:v>909454</c:v>
                </c:pt>
                <c:pt idx="61">
                  <c:v>906023</c:v>
                </c:pt>
                <c:pt idx="62">
                  <c:v>862026</c:v>
                </c:pt>
                <c:pt idx="63">
                  <c:v>848186</c:v>
                </c:pt>
                <c:pt idx="64">
                  <c:v>867282</c:v>
                </c:pt>
                <c:pt idx="65">
                  <c:v>836506</c:v>
                </c:pt>
                <c:pt idx="66">
                  <c:v>719746</c:v>
                </c:pt>
                <c:pt idx="67">
                  <c:v>693889</c:v>
                </c:pt>
                <c:pt idx="68">
                  <c:v>662154</c:v>
                </c:pt>
                <c:pt idx="69">
                  <c:v>709633</c:v>
                </c:pt>
                <c:pt idx="70">
                  <c:v>715816</c:v>
                </c:pt>
                <c:pt idx="71">
                  <c:v>706929</c:v>
                </c:pt>
                <c:pt idx="72">
                  <c:v>738071</c:v>
                </c:pt>
                <c:pt idx="73">
                  <c:v>734619</c:v>
                </c:pt>
                <c:pt idx="74">
                  <c:v>820517</c:v>
                </c:pt>
                <c:pt idx="75">
                  <c:v>758841</c:v>
                </c:pt>
                <c:pt idx="76">
                  <c:v>779052</c:v>
                </c:pt>
                <c:pt idx="77">
                  <c:v>936114</c:v>
                </c:pt>
                <c:pt idx="78">
                  <c:v>1037667</c:v>
                </c:pt>
                <c:pt idx="79">
                  <c:v>941386</c:v>
                </c:pt>
                <c:pt idx="80">
                  <c:v>945131</c:v>
                </c:pt>
                <c:pt idx="81">
                  <c:v>910355</c:v>
                </c:pt>
                <c:pt idx="82">
                  <c:v>964222</c:v>
                </c:pt>
                <c:pt idx="83">
                  <c:v>950397</c:v>
                </c:pt>
                <c:pt idx="84">
                  <c:v>926635</c:v>
                </c:pt>
                <c:pt idx="85">
                  <c:v>898875</c:v>
                </c:pt>
                <c:pt idx="86">
                  <c:v>909499</c:v>
                </c:pt>
                <c:pt idx="87">
                  <c:v>957192</c:v>
                </c:pt>
                <c:pt idx="88">
                  <c:v>871983</c:v>
                </c:pt>
                <c:pt idx="89">
                  <c:v>869089</c:v>
                </c:pt>
                <c:pt idx="90">
                  <c:v>855637</c:v>
                </c:pt>
                <c:pt idx="91">
                  <c:v>1002830</c:v>
                </c:pt>
                <c:pt idx="92">
                  <c:v>867743</c:v>
                </c:pt>
                <c:pt idx="93">
                  <c:v>852418</c:v>
                </c:pt>
                <c:pt idx="94">
                  <c:v>835296</c:v>
                </c:pt>
                <c:pt idx="95">
                  <c:v>836686</c:v>
                </c:pt>
                <c:pt idx="96">
                  <c:v>877870</c:v>
                </c:pt>
                <c:pt idx="97">
                  <c:v>814379</c:v>
                </c:pt>
                <c:pt idx="98">
                  <c:v>821115</c:v>
                </c:pt>
                <c:pt idx="99">
                  <c:v>757715</c:v>
                </c:pt>
                <c:pt idx="100">
                  <c:v>850383</c:v>
                </c:pt>
                <c:pt idx="101">
                  <c:v>855921</c:v>
                </c:pt>
                <c:pt idx="102">
                  <c:v>878781</c:v>
                </c:pt>
                <c:pt idx="103">
                  <c:v>750002</c:v>
                </c:pt>
                <c:pt idx="104">
                  <c:v>772327</c:v>
                </c:pt>
                <c:pt idx="105">
                  <c:v>733302</c:v>
                </c:pt>
                <c:pt idx="106">
                  <c:v>766914</c:v>
                </c:pt>
                <c:pt idx="107">
                  <c:v>695472</c:v>
                </c:pt>
              </c:numCache>
            </c:numRef>
          </c:val>
          <c:extLst>
            <c:ext xmlns:c16="http://schemas.microsoft.com/office/drawing/2014/chart" uri="{C3380CC4-5D6E-409C-BE32-E72D297353CC}">
              <c16:uniqueId val="{00000000-4E00-47D8-B98F-F888755F1F0E}"/>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2732</c:v>
                </c:pt>
                <c:pt idx="1">
                  <c:v>16805</c:v>
                </c:pt>
                <c:pt idx="2">
                  <c:v>10936</c:v>
                </c:pt>
                <c:pt idx="3">
                  <c:v>4899</c:v>
                </c:pt>
                <c:pt idx="4">
                  <c:v>3963</c:v>
                </c:pt>
                <c:pt idx="5">
                  <c:v>2114</c:v>
                </c:pt>
                <c:pt idx="6">
                  <c:v>2775</c:v>
                </c:pt>
                <c:pt idx="7">
                  <c:v>2991</c:v>
                </c:pt>
                <c:pt idx="8">
                  <c:v>1455</c:v>
                </c:pt>
                <c:pt idx="9">
                  <c:v>1648</c:v>
                </c:pt>
                <c:pt idx="10">
                  <c:v>930</c:v>
                </c:pt>
                <c:pt idx="11">
                  <c:v>2390</c:v>
                </c:pt>
                <c:pt idx="12">
                  <c:v>2103</c:v>
                </c:pt>
                <c:pt idx="13">
                  <c:v>937</c:v>
                </c:pt>
                <c:pt idx="14">
                  <c:v>1140</c:v>
                </c:pt>
                <c:pt idx="15">
                  <c:v>910</c:v>
                </c:pt>
                <c:pt idx="16">
                  <c:v>407</c:v>
                </c:pt>
                <c:pt idx="17">
                  <c:v>484</c:v>
                </c:pt>
                <c:pt idx="18">
                  <c:v>426</c:v>
                </c:pt>
                <c:pt idx="19">
                  <c:v>373</c:v>
                </c:pt>
                <c:pt idx="20">
                  <c:v>1120</c:v>
                </c:pt>
                <c:pt idx="21">
                  <c:v>5994</c:v>
                </c:pt>
                <c:pt idx="22">
                  <c:v>1385</c:v>
                </c:pt>
                <c:pt idx="23">
                  <c:v>2386</c:v>
                </c:pt>
                <c:pt idx="24">
                  <c:v>8304</c:v>
                </c:pt>
                <c:pt idx="25">
                  <c:v>2393</c:v>
                </c:pt>
                <c:pt idx="26">
                  <c:v>1179</c:v>
                </c:pt>
                <c:pt idx="27">
                  <c:v>2067</c:v>
                </c:pt>
                <c:pt idx="28">
                  <c:v>12681</c:v>
                </c:pt>
                <c:pt idx="29">
                  <c:v>10238</c:v>
                </c:pt>
                <c:pt idx="30">
                  <c:v>7241</c:v>
                </c:pt>
                <c:pt idx="31">
                  <c:v>6342</c:v>
                </c:pt>
                <c:pt idx="32">
                  <c:v>7386</c:v>
                </c:pt>
                <c:pt idx="33">
                  <c:v>7623</c:v>
                </c:pt>
                <c:pt idx="34">
                  <c:v>6801</c:v>
                </c:pt>
                <c:pt idx="35">
                  <c:v>7557</c:v>
                </c:pt>
                <c:pt idx="36">
                  <c:v>10640</c:v>
                </c:pt>
                <c:pt idx="37">
                  <c:v>13361</c:v>
                </c:pt>
                <c:pt idx="38">
                  <c:v>14270</c:v>
                </c:pt>
                <c:pt idx="39">
                  <c:v>13424</c:v>
                </c:pt>
                <c:pt idx="40">
                  <c:v>10866</c:v>
                </c:pt>
                <c:pt idx="41">
                  <c:v>9492</c:v>
                </c:pt>
                <c:pt idx="42">
                  <c:v>8631</c:v>
                </c:pt>
                <c:pt idx="43">
                  <c:v>7255</c:v>
                </c:pt>
                <c:pt idx="44">
                  <c:v>7371</c:v>
                </c:pt>
                <c:pt idx="45">
                  <c:v>6129</c:v>
                </c:pt>
                <c:pt idx="46">
                  <c:v>3043</c:v>
                </c:pt>
                <c:pt idx="47">
                  <c:v>1882</c:v>
                </c:pt>
                <c:pt idx="48">
                  <c:v>3031</c:v>
                </c:pt>
                <c:pt idx="49">
                  <c:v>6876</c:v>
                </c:pt>
                <c:pt idx="50">
                  <c:v>10430</c:v>
                </c:pt>
                <c:pt idx="51">
                  <c:v>6675</c:v>
                </c:pt>
                <c:pt idx="52">
                  <c:v>19088</c:v>
                </c:pt>
                <c:pt idx="53">
                  <c:v>37833</c:v>
                </c:pt>
                <c:pt idx="54">
                  <c:v>33792</c:v>
                </c:pt>
                <c:pt idx="55">
                  <c:v>34711</c:v>
                </c:pt>
                <c:pt idx="56">
                  <c:v>34036</c:v>
                </c:pt>
                <c:pt idx="57">
                  <c:v>42328</c:v>
                </c:pt>
                <c:pt idx="58">
                  <c:v>45838</c:v>
                </c:pt>
                <c:pt idx="59">
                  <c:v>28448</c:v>
                </c:pt>
                <c:pt idx="60">
                  <c:v>5061</c:v>
                </c:pt>
                <c:pt idx="61">
                  <c:v>3869</c:v>
                </c:pt>
                <c:pt idx="62">
                  <c:v>2780</c:v>
                </c:pt>
                <c:pt idx="63">
                  <c:v>6060</c:v>
                </c:pt>
                <c:pt idx="64">
                  <c:v>5521</c:v>
                </c:pt>
                <c:pt idx="65">
                  <c:v>99224</c:v>
                </c:pt>
                <c:pt idx="66">
                  <c:v>168610</c:v>
                </c:pt>
                <c:pt idx="67">
                  <c:v>173541</c:v>
                </c:pt>
                <c:pt idx="68">
                  <c:v>168751</c:v>
                </c:pt>
                <c:pt idx="69">
                  <c:v>188270</c:v>
                </c:pt>
                <c:pt idx="70">
                  <c:v>191569</c:v>
                </c:pt>
                <c:pt idx="71">
                  <c:v>189183</c:v>
                </c:pt>
                <c:pt idx="72">
                  <c:v>199318</c:v>
                </c:pt>
                <c:pt idx="73">
                  <c:v>197256</c:v>
                </c:pt>
                <c:pt idx="74">
                  <c:v>220550</c:v>
                </c:pt>
                <c:pt idx="75">
                  <c:v>202736</c:v>
                </c:pt>
                <c:pt idx="76">
                  <c:v>175344</c:v>
                </c:pt>
                <c:pt idx="77">
                  <c:v>24785</c:v>
                </c:pt>
                <c:pt idx="78">
                  <c:v>18451</c:v>
                </c:pt>
                <c:pt idx="79">
                  <c:v>18763</c:v>
                </c:pt>
                <c:pt idx="80">
                  <c:v>17632</c:v>
                </c:pt>
                <c:pt idx="81">
                  <c:v>13605</c:v>
                </c:pt>
                <c:pt idx="82">
                  <c:v>10963</c:v>
                </c:pt>
                <c:pt idx="83">
                  <c:v>11276</c:v>
                </c:pt>
                <c:pt idx="84">
                  <c:v>16761</c:v>
                </c:pt>
                <c:pt idx="85">
                  <c:v>19425</c:v>
                </c:pt>
                <c:pt idx="86">
                  <c:v>17810</c:v>
                </c:pt>
                <c:pt idx="87">
                  <c:v>10341</c:v>
                </c:pt>
                <c:pt idx="88">
                  <c:v>10815</c:v>
                </c:pt>
                <c:pt idx="89">
                  <c:v>7796</c:v>
                </c:pt>
                <c:pt idx="90">
                  <c:v>7993</c:v>
                </c:pt>
                <c:pt idx="91">
                  <c:v>10398</c:v>
                </c:pt>
                <c:pt idx="92">
                  <c:v>10445</c:v>
                </c:pt>
                <c:pt idx="93">
                  <c:v>13877</c:v>
                </c:pt>
                <c:pt idx="94">
                  <c:v>13360</c:v>
                </c:pt>
                <c:pt idx="95">
                  <c:v>11408</c:v>
                </c:pt>
                <c:pt idx="96">
                  <c:v>10820</c:v>
                </c:pt>
                <c:pt idx="97">
                  <c:v>10377</c:v>
                </c:pt>
                <c:pt idx="98">
                  <c:v>8027</c:v>
                </c:pt>
                <c:pt idx="99">
                  <c:v>5346</c:v>
                </c:pt>
                <c:pt idx="100">
                  <c:v>8594</c:v>
                </c:pt>
                <c:pt idx="101">
                  <c:v>7319</c:v>
                </c:pt>
                <c:pt idx="102">
                  <c:v>8022</c:v>
                </c:pt>
                <c:pt idx="103">
                  <c:v>8511</c:v>
                </c:pt>
                <c:pt idx="104">
                  <c:v>7314</c:v>
                </c:pt>
                <c:pt idx="105">
                  <c:v>8257</c:v>
                </c:pt>
                <c:pt idx="106">
                  <c:v>14342</c:v>
                </c:pt>
                <c:pt idx="107">
                  <c:v>146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95</c:v>
                </c:pt>
                <c:pt idx="1">
                  <c:v>1680</c:v>
                </c:pt>
                <c:pt idx="2">
                  <c:v>2065</c:v>
                </c:pt>
                <c:pt idx="3">
                  <c:v>2395</c:v>
                </c:pt>
                <c:pt idx="4">
                  <c:v>2430</c:v>
                </c:pt>
                <c:pt idx="5">
                  <c:v>3050</c:v>
                </c:pt>
                <c:pt idx="6">
                  <c:v>4675</c:v>
                </c:pt>
                <c:pt idx="7">
                  <c:v>4890</c:v>
                </c:pt>
                <c:pt idx="8">
                  <c:v>5500</c:v>
                </c:pt>
                <c:pt idx="9">
                  <c:v>3520</c:v>
                </c:pt>
                <c:pt idx="10">
                  <c:v>4865</c:v>
                </c:pt>
                <c:pt idx="11">
                  <c:v>10250</c:v>
                </c:pt>
                <c:pt idx="12">
                  <c:v>41340</c:v>
                </c:pt>
                <c:pt idx="13">
                  <c:v>22155</c:v>
                </c:pt>
                <c:pt idx="14">
                  <c:v>12445</c:v>
                </c:pt>
                <c:pt idx="15">
                  <c:v>38375</c:v>
                </c:pt>
                <c:pt idx="16">
                  <c:v>31810</c:v>
                </c:pt>
                <c:pt idx="17">
                  <c:v>13205</c:v>
                </c:pt>
                <c:pt idx="18">
                  <c:v>3790</c:v>
                </c:pt>
                <c:pt idx="19">
                  <c:v>1290</c:v>
                </c:pt>
                <c:pt idx="20">
                  <c:v>520</c:v>
                </c:pt>
                <c:pt idx="21">
                  <c:v>340</c:v>
                </c:pt>
                <c:pt idx="22">
                  <c:v>265</c:v>
                </c:pt>
                <c:pt idx="23">
                  <c:v>95</c:v>
                </c:pt>
                <c:pt idx="24">
                  <c:v>145</c:v>
                </c:pt>
                <c:pt idx="25">
                  <c:v>25</c:v>
                </c:pt>
                <c:pt idx="26">
                  <c:v>20</c:v>
                </c:pt>
                <c:pt idx="27">
                  <c:v>5</c:v>
                </c:pt>
                <c:pt idx="28">
                  <c:v>15</c:v>
                </c:pt>
                <c:pt idx="29">
                  <c:v>5</c:v>
                </c:pt>
                <c:pt idx="30">
                  <c:v>10</c:v>
                </c:pt>
                <c:pt idx="31">
                  <c:v>20</c:v>
                </c:pt>
                <c:pt idx="32">
                  <c:v>10</c:v>
                </c:pt>
                <c:pt idx="33">
                  <c:v>5</c:v>
                </c:pt>
                <c:pt idx="34">
                  <c:v>5</c:v>
                </c:pt>
                <c:pt idx="35">
                  <c:v>10</c:v>
                </c:pt>
                <c:pt idx="36">
                  <c:v>5</c:v>
                </c:pt>
                <c:pt idx="37">
                  <c:v>5</c:v>
                </c:pt>
                <c:pt idx="38">
                  <c:v>5</c:v>
                </c:pt>
                <c:pt idx="39">
                  <c:v>5</c:v>
                </c:pt>
                <c:pt idx="40">
                  <c:v>5</c:v>
                </c:pt>
                <c:pt idx="41">
                  <c:v>5</c:v>
                </c:pt>
                <c:pt idx="42">
                  <c:v>5</c:v>
                </c:pt>
                <c:pt idx="43">
                  <c:v>5</c:v>
                </c:pt>
                <c:pt idx="44">
                  <c:v>20</c:v>
                </c:pt>
                <c:pt idx="45">
                  <c:v>10</c:v>
                </c:pt>
                <c:pt idx="46">
                  <c:v>5</c:v>
                </c:pt>
                <c:pt idx="47">
                  <c:v>5</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95</c:v>
                </c:pt>
                <c:pt idx="1">
                  <c:v>1680</c:v>
                </c:pt>
                <c:pt idx="2">
                  <c:v>2065</c:v>
                </c:pt>
                <c:pt idx="3">
                  <c:v>2395</c:v>
                </c:pt>
                <c:pt idx="4">
                  <c:v>2430</c:v>
                </c:pt>
                <c:pt idx="5">
                  <c:v>3050</c:v>
                </c:pt>
                <c:pt idx="6">
                  <c:v>4675</c:v>
                </c:pt>
                <c:pt idx="7">
                  <c:v>4890</c:v>
                </c:pt>
                <c:pt idx="8">
                  <c:v>5500</c:v>
                </c:pt>
                <c:pt idx="9">
                  <c:v>3520</c:v>
                </c:pt>
                <c:pt idx="10">
                  <c:v>4865</c:v>
                </c:pt>
                <c:pt idx="11">
                  <c:v>10250</c:v>
                </c:pt>
                <c:pt idx="12">
                  <c:v>41340</c:v>
                </c:pt>
                <c:pt idx="13">
                  <c:v>22155</c:v>
                </c:pt>
                <c:pt idx="14">
                  <c:v>12445</c:v>
                </c:pt>
                <c:pt idx="15">
                  <c:v>38375</c:v>
                </c:pt>
                <c:pt idx="16">
                  <c:v>31810</c:v>
                </c:pt>
                <c:pt idx="17">
                  <c:v>13205</c:v>
                </c:pt>
                <c:pt idx="18">
                  <c:v>3790</c:v>
                </c:pt>
                <c:pt idx="19">
                  <c:v>1290</c:v>
                </c:pt>
                <c:pt idx="20">
                  <c:v>520</c:v>
                </c:pt>
                <c:pt idx="21">
                  <c:v>340</c:v>
                </c:pt>
                <c:pt idx="22">
                  <c:v>265</c:v>
                </c:pt>
                <c:pt idx="23">
                  <c:v>95</c:v>
                </c:pt>
                <c:pt idx="24">
                  <c:v>145</c:v>
                </c:pt>
                <c:pt idx="25">
                  <c:v>25</c:v>
                </c:pt>
                <c:pt idx="26">
                  <c:v>20</c:v>
                </c:pt>
                <c:pt idx="27">
                  <c:v>5</c:v>
                </c:pt>
                <c:pt idx="28">
                  <c:v>15</c:v>
                </c:pt>
                <c:pt idx="29">
                  <c:v>5</c:v>
                </c:pt>
                <c:pt idx="30">
                  <c:v>10</c:v>
                </c:pt>
                <c:pt idx="31">
                  <c:v>20</c:v>
                </c:pt>
                <c:pt idx="32">
                  <c:v>10</c:v>
                </c:pt>
                <c:pt idx="33">
                  <c:v>5</c:v>
                </c:pt>
                <c:pt idx="34">
                  <c:v>5</c:v>
                </c:pt>
                <c:pt idx="35">
                  <c:v>10</c:v>
                </c:pt>
                <c:pt idx="36">
                  <c:v>5</c:v>
                </c:pt>
                <c:pt idx="37">
                  <c:v>5</c:v>
                </c:pt>
                <c:pt idx="38">
                  <c:v>5</c:v>
                </c:pt>
                <c:pt idx="39">
                  <c:v>5</c:v>
                </c:pt>
                <c:pt idx="40">
                  <c:v>5</c:v>
                </c:pt>
                <c:pt idx="41">
                  <c:v>5</c:v>
                </c:pt>
                <c:pt idx="42">
                  <c:v>5</c:v>
                </c:pt>
                <c:pt idx="43">
                  <c:v>5</c:v>
                </c:pt>
                <c:pt idx="44">
                  <c:v>20</c:v>
                </c:pt>
                <c:pt idx="45">
                  <c:v>10</c:v>
                </c:pt>
                <c:pt idx="46">
                  <c:v>5</c:v>
                </c:pt>
                <c:pt idx="47">
                  <c:v>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3576</c:v>
                </c:pt>
                <c:pt idx="1">
                  <c:v>13938</c:v>
                </c:pt>
                <c:pt idx="2">
                  <c:v>13671</c:v>
                </c:pt>
                <c:pt idx="3">
                  <c:v>13438</c:v>
                </c:pt>
                <c:pt idx="4">
                  <c:v>13656</c:v>
                </c:pt>
                <c:pt idx="5">
                  <c:v>14826</c:v>
                </c:pt>
                <c:pt idx="6">
                  <c:v>13856</c:v>
                </c:pt>
                <c:pt idx="7">
                  <c:v>13529</c:v>
                </c:pt>
                <c:pt idx="8">
                  <c:v>16116</c:v>
                </c:pt>
                <c:pt idx="9">
                  <c:v>14415</c:v>
                </c:pt>
                <c:pt idx="10">
                  <c:v>14534</c:v>
                </c:pt>
                <c:pt idx="11">
                  <c:v>15128</c:v>
                </c:pt>
                <c:pt idx="12">
                  <c:v>15431</c:v>
                </c:pt>
                <c:pt idx="13">
                  <c:v>17261</c:v>
                </c:pt>
                <c:pt idx="14">
                  <c:v>14172</c:v>
                </c:pt>
                <c:pt idx="15">
                  <c:v>14127</c:v>
                </c:pt>
                <c:pt idx="16">
                  <c:v>14914</c:v>
                </c:pt>
                <c:pt idx="17">
                  <c:v>17334</c:v>
                </c:pt>
                <c:pt idx="18">
                  <c:v>16224</c:v>
                </c:pt>
                <c:pt idx="19">
                  <c:v>16032</c:v>
                </c:pt>
                <c:pt idx="20">
                  <c:v>17817</c:v>
                </c:pt>
                <c:pt idx="21">
                  <c:v>17302</c:v>
                </c:pt>
                <c:pt idx="22">
                  <c:v>17151</c:v>
                </c:pt>
                <c:pt idx="23">
                  <c:v>16807</c:v>
                </c:pt>
                <c:pt idx="24">
                  <c:v>17339</c:v>
                </c:pt>
                <c:pt idx="25">
                  <c:v>16776</c:v>
                </c:pt>
                <c:pt idx="26">
                  <c:v>17771</c:v>
                </c:pt>
                <c:pt idx="27">
                  <c:v>15887</c:v>
                </c:pt>
                <c:pt idx="28">
                  <c:v>15128</c:v>
                </c:pt>
                <c:pt idx="29">
                  <c:v>16154</c:v>
                </c:pt>
                <c:pt idx="30">
                  <c:v>16755</c:v>
                </c:pt>
                <c:pt idx="31">
                  <c:v>15586</c:v>
                </c:pt>
                <c:pt idx="32">
                  <c:v>16356</c:v>
                </c:pt>
                <c:pt idx="33">
                  <c:v>16600</c:v>
                </c:pt>
                <c:pt idx="34">
                  <c:v>18795</c:v>
                </c:pt>
                <c:pt idx="35">
                  <c:v>19766</c:v>
                </c:pt>
                <c:pt idx="36">
                  <c:v>17420</c:v>
                </c:pt>
                <c:pt idx="37">
                  <c:v>16674</c:v>
                </c:pt>
                <c:pt idx="38">
                  <c:v>15378</c:v>
                </c:pt>
                <c:pt idx="39">
                  <c:v>15319</c:v>
                </c:pt>
                <c:pt idx="40">
                  <c:v>13354</c:v>
                </c:pt>
                <c:pt idx="41">
                  <c:v>14496</c:v>
                </c:pt>
                <c:pt idx="42">
                  <c:v>13756</c:v>
                </c:pt>
                <c:pt idx="43">
                  <c:v>13690</c:v>
                </c:pt>
                <c:pt idx="44">
                  <c:v>15510</c:v>
                </c:pt>
                <c:pt idx="45">
                  <c:v>14524</c:v>
                </c:pt>
                <c:pt idx="46">
                  <c:v>13783</c:v>
                </c:pt>
                <c:pt idx="47">
                  <c:v>14692</c:v>
                </c:pt>
                <c:pt idx="48">
                  <c:v>15120</c:v>
                </c:pt>
                <c:pt idx="49">
                  <c:v>11270</c:v>
                </c:pt>
                <c:pt idx="50">
                  <c:v>11241</c:v>
                </c:pt>
                <c:pt idx="51">
                  <c:v>7087</c:v>
                </c:pt>
                <c:pt idx="52">
                  <c:v>8989</c:v>
                </c:pt>
                <c:pt idx="53">
                  <c:v>11750</c:v>
                </c:pt>
                <c:pt idx="54">
                  <c:v>19892</c:v>
                </c:pt>
                <c:pt idx="55">
                  <c:v>23063</c:v>
                </c:pt>
                <c:pt idx="56">
                  <c:v>24509</c:v>
                </c:pt>
                <c:pt idx="57">
                  <c:v>26931</c:v>
                </c:pt>
                <c:pt idx="58">
                  <c:v>23148</c:v>
                </c:pt>
                <c:pt idx="59">
                  <c:v>22748</c:v>
                </c:pt>
                <c:pt idx="60">
                  <c:v>23826</c:v>
                </c:pt>
                <c:pt idx="61">
                  <c:v>22823</c:v>
                </c:pt>
                <c:pt idx="62">
                  <c:v>21003</c:v>
                </c:pt>
                <c:pt idx="63">
                  <c:v>19742</c:v>
                </c:pt>
                <c:pt idx="64">
                  <c:v>22322</c:v>
                </c:pt>
                <c:pt idx="65">
                  <c:v>21993</c:v>
                </c:pt>
                <c:pt idx="66">
                  <c:v>19687</c:v>
                </c:pt>
                <c:pt idx="67">
                  <c:v>20134</c:v>
                </c:pt>
                <c:pt idx="68">
                  <c:v>20032</c:v>
                </c:pt>
                <c:pt idx="69">
                  <c:v>21484</c:v>
                </c:pt>
                <c:pt idx="70">
                  <c:v>20542</c:v>
                </c:pt>
                <c:pt idx="71">
                  <c:v>19844</c:v>
                </c:pt>
                <c:pt idx="72">
                  <c:v>23939</c:v>
                </c:pt>
                <c:pt idx="73">
                  <c:v>26969</c:v>
                </c:pt>
                <c:pt idx="74">
                  <c:v>29031</c:v>
                </c:pt>
                <c:pt idx="75">
                  <c:v>28022</c:v>
                </c:pt>
                <c:pt idx="76">
                  <c:v>28815</c:v>
                </c:pt>
                <c:pt idx="77">
                  <c:v>28522</c:v>
                </c:pt>
                <c:pt idx="78">
                  <c:v>30126</c:v>
                </c:pt>
                <c:pt idx="79">
                  <c:v>25552</c:v>
                </c:pt>
                <c:pt idx="80">
                  <c:v>23407</c:v>
                </c:pt>
                <c:pt idx="81">
                  <c:v>22457</c:v>
                </c:pt>
                <c:pt idx="82">
                  <c:v>22287</c:v>
                </c:pt>
                <c:pt idx="83">
                  <c:v>25998</c:v>
                </c:pt>
                <c:pt idx="84">
                  <c:v>26178</c:v>
                </c:pt>
                <c:pt idx="85">
                  <c:v>26424</c:v>
                </c:pt>
                <c:pt idx="86">
                  <c:v>25270</c:v>
                </c:pt>
                <c:pt idx="87">
                  <c:v>25833</c:v>
                </c:pt>
                <c:pt idx="88">
                  <c:v>24115</c:v>
                </c:pt>
                <c:pt idx="89">
                  <c:v>24662</c:v>
                </c:pt>
                <c:pt idx="90">
                  <c:v>21729</c:v>
                </c:pt>
                <c:pt idx="91">
                  <c:v>22807</c:v>
                </c:pt>
                <c:pt idx="92">
                  <c:v>19490</c:v>
                </c:pt>
                <c:pt idx="93">
                  <c:v>18353</c:v>
                </c:pt>
                <c:pt idx="94">
                  <c:v>20147</c:v>
                </c:pt>
                <c:pt idx="95">
                  <c:v>22422</c:v>
                </c:pt>
                <c:pt idx="96">
                  <c:v>23182</c:v>
                </c:pt>
                <c:pt idx="97">
                  <c:v>21596</c:v>
                </c:pt>
                <c:pt idx="98">
                  <c:v>21277</c:v>
                </c:pt>
                <c:pt idx="99">
                  <c:v>20811</c:v>
                </c:pt>
                <c:pt idx="100">
                  <c:v>22963</c:v>
                </c:pt>
                <c:pt idx="101">
                  <c:v>22045</c:v>
                </c:pt>
                <c:pt idx="102">
                  <c:v>24422</c:v>
                </c:pt>
                <c:pt idx="103">
                  <c:v>24901</c:v>
                </c:pt>
                <c:pt idx="104">
                  <c:v>20185</c:v>
                </c:pt>
                <c:pt idx="105">
                  <c:v>19080</c:v>
                </c:pt>
                <c:pt idx="106">
                  <c:v>21168</c:v>
                </c:pt>
                <c:pt idx="107">
                  <c:v>19581</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3978</c:v>
                </c:pt>
                <c:pt idx="1">
                  <c:v>10804</c:v>
                </c:pt>
                <c:pt idx="2">
                  <c:v>10122</c:v>
                </c:pt>
                <c:pt idx="3">
                  <c:v>6851</c:v>
                </c:pt>
                <c:pt idx="4">
                  <c:v>4440</c:v>
                </c:pt>
                <c:pt idx="5">
                  <c:v>3738</c:v>
                </c:pt>
                <c:pt idx="6">
                  <c:v>3626</c:v>
                </c:pt>
                <c:pt idx="7">
                  <c:v>7762</c:v>
                </c:pt>
                <c:pt idx="8">
                  <c:v>3072</c:v>
                </c:pt>
                <c:pt idx="9">
                  <c:v>3168</c:v>
                </c:pt>
                <c:pt idx="10">
                  <c:v>6634</c:v>
                </c:pt>
                <c:pt idx="11">
                  <c:v>4082</c:v>
                </c:pt>
                <c:pt idx="12">
                  <c:v>2344</c:v>
                </c:pt>
                <c:pt idx="13">
                  <c:v>2224</c:v>
                </c:pt>
                <c:pt idx="14">
                  <c:v>3180</c:v>
                </c:pt>
                <c:pt idx="15">
                  <c:v>7882</c:v>
                </c:pt>
                <c:pt idx="16">
                  <c:v>3238</c:v>
                </c:pt>
                <c:pt idx="17">
                  <c:v>698</c:v>
                </c:pt>
                <c:pt idx="18">
                  <c:v>982</c:v>
                </c:pt>
                <c:pt idx="19">
                  <c:v>856</c:v>
                </c:pt>
                <c:pt idx="20">
                  <c:v>1870</c:v>
                </c:pt>
                <c:pt idx="21">
                  <c:v>304</c:v>
                </c:pt>
                <c:pt idx="22">
                  <c:v>164</c:v>
                </c:pt>
                <c:pt idx="23">
                  <c:v>294</c:v>
                </c:pt>
                <c:pt idx="24">
                  <c:v>146</c:v>
                </c:pt>
                <c:pt idx="25">
                  <c:v>220</c:v>
                </c:pt>
                <c:pt idx="26">
                  <c:v>224</c:v>
                </c:pt>
                <c:pt idx="27">
                  <c:v>1572</c:v>
                </c:pt>
                <c:pt idx="28">
                  <c:v>5228</c:v>
                </c:pt>
                <c:pt idx="29">
                  <c:v>2802</c:v>
                </c:pt>
                <c:pt idx="30">
                  <c:v>2188</c:v>
                </c:pt>
                <c:pt idx="31">
                  <c:v>1968</c:v>
                </c:pt>
                <c:pt idx="32">
                  <c:v>1950</c:v>
                </c:pt>
                <c:pt idx="33">
                  <c:v>1804</c:v>
                </c:pt>
                <c:pt idx="34">
                  <c:v>1548</c:v>
                </c:pt>
                <c:pt idx="35">
                  <c:v>482</c:v>
                </c:pt>
                <c:pt idx="36">
                  <c:v>272</c:v>
                </c:pt>
                <c:pt idx="37">
                  <c:v>198</c:v>
                </c:pt>
                <c:pt idx="38">
                  <c:v>786</c:v>
                </c:pt>
                <c:pt idx="39">
                  <c:v>1586</c:v>
                </c:pt>
                <c:pt idx="40">
                  <c:v>10248</c:v>
                </c:pt>
                <c:pt idx="41">
                  <c:v>12301</c:v>
                </c:pt>
                <c:pt idx="42">
                  <c:v>13429</c:v>
                </c:pt>
                <c:pt idx="43">
                  <c:v>15451</c:v>
                </c:pt>
                <c:pt idx="44">
                  <c:v>16366</c:v>
                </c:pt>
                <c:pt idx="45">
                  <c:v>19322</c:v>
                </c:pt>
                <c:pt idx="46">
                  <c:v>31685</c:v>
                </c:pt>
                <c:pt idx="47">
                  <c:v>31237</c:v>
                </c:pt>
                <c:pt idx="48">
                  <c:v>41559</c:v>
                </c:pt>
                <c:pt idx="49">
                  <c:v>66466</c:v>
                </c:pt>
                <c:pt idx="50">
                  <c:v>120641</c:v>
                </c:pt>
                <c:pt idx="51">
                  <c:v>241388</c:v>
                </c:pt>
                <c:pt idx="52">
                  <c:v>29750</c:v>
                </c:pt>
                <c:pt idx="53">
                  <c:v>7619</c:v>
                </c:pt>
                <c:pt idx="54">
                  <c:v>3334</c:v>
                </c:pt>
                <c:pt idx="55">
                  <c:v>1899</c:v>
                </c:pt>
                <c:pt idx="56">
                  <c:v>901</c:v>
                </c:pt>
                <c:pt idx="57">
                  <c:v>922</c:v>
                </c:pt>
                <c:pt idx="58">
                  <c:v>4060</c:v>
                </c:pt>
                <c:pt idx="59">
                  <c:v>11597</c:v>
                </c:pt>
                <c:pt idx="60">
                  <c:v>7035</c:v>
                </c:pt>
                <c:pt idx="61">
                  <c:v>6267</c:v>
                </c:pt>
                <c:pt idx="62">
                  <c:v>6624</c:v>
                </c:pt>
                <c:pt idx="63">
                  <c:v>12375</c:v>
                </c:pt>
                <c:pt idx="64">
                  <c:v>6373</c:v>
                </c:pt>
                <c:pt idx="65">
                  <c:v>6064</c:v>
                </c:pt>
                <c:pt idx="66">
                  <c:v>6679</c:v>
                </c:pt>
                <c:pt idx="67">
                  <c:v>11912</c:v>
                </c:pt>
                <c:pt idx="68">
                  <c:v>6221</c:v>
                </c:pt>
                <c:pt idx="69">
                  <c:v>5750</c:v>
                </c:pt>
                <c:pt idx="70">
                  <c:v>5392</c:v>
                </c:pt>
                <c:pt idx="71">
                  <c:v>6325</c:v>
                </c:pt>
                <c:pt idx="72">
                  <c:v>6952</c:v>
                </c:pt>
                <c:pt idx="73">
                  <c:v>41</c:v>
                </c:pt>
                <c:pt idx="74">
                  <c:v>266</c:v>
                </c:pt>
                <c:pt idx="75">
                  <c:v>77</c:v>
                </c:pt>
                <c:pt idx="76">
                  <c:v>101</c:v>
                </c:pt>
                <c:pt idx="77">
                  <c:v>58</c:v>
                </c:pt>
                <c:pt idx="78">
                  <c:v>362</c:v>
                </c:pt>
                <c:pt idx="79">
                  <c:v>2888</c:v>
                </c:pt>
                <c:pt idx="80">
                  <c:v>6203</c:v>
                </c:pt>
                <c:pt idx="81">
                  <c:v>6007</c:v>
                </c:pt>
                <c:pt idx="82">
                  <c:v>5920</c:v>
                </c:pt>
                <c:pt idx="83">
                  <c:v>1399</c:v>
                </c:pt>
                <c:pt idx="84">
                  <c:v>1122</c:v>
                </c:pt>
                <c:pt idx="85">
                  <c:v>242</c:v>
                </c:pt>
                <c:pt idx="86">
                  <c:v>792</c:v>
                </c:pt>
                <c:pt idx="87">
                  <c:v>251</c:v>
                </c:pt>
                <c:pt idx="88">
                  <c:v>261</c:v>
                </c:pt>
                <c:pt idx="89">
                  <c:v>263</c:v>
                </c:pt>
                <c:pt idx="90">
                  <c:v>1199</c:v>
                </c:pt>
                <c:pt idx="91">
                  <c:v>2964</c:v>
                </c:pt>
                <c:pt idx="92">
                  <c:v>6667</c:v>
                </c:pt>
                <c:pt idx="93">
                  <c:v>12478</c:v>
                </c:pt>
                <c:pt idx="94">
                  <c:v>11650</c:v>
                </c:pt>
                <c:pt idx="95">
                  <c:v>10494</c:v>
                </c:pt>
                <c:pt idx="96">
                  <c:v>13315</c:v>
                </c:pt>
                <c:pt idx="97">
                  <c:v>16095</c:v>
                </c:pt>
                <c:pt idx="98">
                  <c:v>19979</c:v>
                </c:pt>
                <c:pt idx="99">
                  <c:v>32195</c:v>
                </c:pt>
                <c:pt idx="100">
                  <c:v>35366</c:v>
                </c:pt>
                <c:pt idx="101">
                  <c:v>49136</c:v>
                </c:pt>
                <c:pt idx="102">
                  <c:v>76958</c:v>
                </c:pt>
                <c:pt idx="103">
                  <c:v>200721</c:v>
                </c:pt>
                <c:pt idx="104">
                  <c:v>6529</c:v>
                </c:pt>
                <c:pt idx="105">
                  <c:v>1508</c:v>
                </c:pt>
                <c:pt idx="106">
                  <c:v>784</c:v>
                </c:pt>
                <c:pt idx="107">
                  <c:v>422</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3518</c:v>
                </c:pt>
                <c:pt idx="1">
                  <c:v>13770</c:v>
                </c:pt>
                <c:pt idx="2">
                  <c:v>13187</c:v>
                </c:pt>
                <c:pt idx="3">
                  <c:v>12524</c:v>
                </c:pt>
                <c:pt idx="4">
                  <c:v>12618</c:v>
                </c:pt>
                <c:pt idx="5">
                  <c:v>13768</c:v>
                </c:pt>
                <c:pt idx="6">
                  <c:v>12938</c:v>
                </c:pt>
                <c:pt idx="7">
                  <c:v>12475</c:v>
                </c:pt>
                <c:pt idx="8">
                  <c:v>14854</c:v>
                </c:pt>
                <c:pt idx="9">
                  <c:v>13401</c:v>
                </c:pt>
                <c:pt idx="10">
                  <c:v>13554</c:v>
                </c:pt>
                <c:pt idx="11">
                  <c:v>14162</c:v>
                </c:pt>
                <c:pt idx="12">
                  <c:v>14373</c:v>
                </c:pt>
                <c:pt idx="13">
                  <c:v>16015</c:v>
                </c:pt>
                <c:pt idx="14">
                  <c:v>12880</c:v>
                </c:pt>
                <c:pt idx="15">
                  <c:v>12913</c:v>
                </c:pt>
                <c:pt idx="16">
                  <c:v>13782</c:v>
                </c:pt>
                <c:pt idx="17">
                  <c:v>16074</c:v>
                </c:pt>
                <c:pt idx="18">
                  <c:v>15074</c:v>
                </c:pt>
                <c:pt idx="19">
                  <c:v>14838</c:v>
                </c:pt>
                <c:pt idx="20">
                  <c:v>16629</c:v>
                </c:pt>
                <c:pt idx="21">
                  <c:v>16188</c:v>
                </c:pt>
                <c:pt idx="22">
                  <c:v>15997</c:v>
                </c:pt>
                <c:pt idx="23">
                  <c:v>15611</c:v>
                </c:pt>
                <c:pt idx="24">
                  <c:v>16059</c:v>
                </c:pt>
                <c:pt idx="25">
                  <c:v>15634</c:v>
                </c:pt>
                <c:pt idx="26">
                  <c:v>16535</c:v>
                </c:pt>
                <c:pt idx="27">
                  <c:v>14749</c:v>
                </c:pt>
                <c:pt idx="28">
                  <c:v>13912</c:v>
                </c:pt>
                <c:pt idx="29">
                  <c:v>15040</c:v>
                </c:pt>
                <c:pt idx="30">
                  <c:v>15545</c:v>
                </c:pt>
                <c:pt idx="31">
                  <c:v>14418</c:v>
                </c:pt>
                <c:pt idx="32">
                  <c:v>15122</c:v>
                </c:pt>
                <c:pt idx="33">
                  <c:v>15406</c:v>
                </c:pt>
                <c:pt idx="34">
                  <c:v>17661</c:v>
                </c:pt>
                <c:pt idx="35">
                  <c:v>18756</c:v>
                </c:pt>
                <c:pt idx="36">
                  <c:v>16492</c:v>
                </c:pt>
                <c:pt idx="37">
                  <c:v>15700</c:v>
                </c:pt>
                <c:pt idx="38">
                  <c:v>14408</c:v>
                </c:pt>
                <c:pt idx="39">
                  <c:v>14359</c:v>
                </c:pt>
                <c:pt idx="40">
                  <c:v>12408</c:v>
                </c:pt>
                <c:pt idx="41">
                  <c:v>13562</c:v>
                </c:pt>
                <c:pt idx="42">
                  <c:v>12860</c:v>
                </c:pt>
                <c:pt idx="43">
                  <c:v>12822</c:v>
                </c:pt>
                <c:pt idx="44">
                  <c:v>14636</c:v>
                </c:pt>
                <c:pt idx="45">
                  <c:v>13674</c:v>
                </c:pt>
                <c:pt idx="46">
                  <c:v>13065</c:v>
                </c:pt>
                <c:pt idx="47">
                  <c:v>13914</c:v>
                </c:pt>
                <c:pt idx="48">
                  <c:v>14444</c:v>
                </c:pt>
                <c:pt idx="49">
                  <c:v>10802</c:v>
                </c:pt>
                <c:pt idx="50">
                  <c:v>10867</c:v>
                </c:pt>
                <c:pt idx="51">
                  <c:v>6831</c:v>
                </c:pt>
                <c:pt idx="52">
                  <c:v>8839</c:v>
                </c:pt>
                <c:pt idx="53">
                  <c:v>11710</c:v>
                </c:pt>
                <c:pt idx="54">
                  <c:v>19856</c:v>
                </c:pt>
                <c:pt idx="55">
                  <c:v>23059</c:v>
                </c:pt>
                <c:pt idx="56">
                  <c:v>24499</c:v>
                </c:pt>
                <c:pt idx="57">
                  <c:v>26927</c:v>
                </c:pt>
                <c:pt idx="58">
                  <c:v>23142</c:v>
                </c:pt>
                <c:pt idx="59">
                  <c:v>22736</c:v>
                </c:pt>
                <c:pt idx="60">
                  <c:v>23818</c:v>
                </c:pt>
                <c:pt idx="61">
                  <c:v>22815</c:v>
                </c:pt>
                <c:pt idx="62">
                  <c:v>20993</c:v>
                </c:pt>
                <c:pt idx="63">
                  <c:v>19736</c:v>
                </c:pt>
                <c:pt idx="64">
                  <c:v>22316</c:v>
                </c:pt>
                <c:pt idx="65">
                  <c:v>21989</c:v>
                </c:pt>
                <c:pt idx="66">
                  <c:v>19687</c:v>
                </c:pt>
                <c:pt idx="67">
                  <c:v>20130</c:v>
                </c:pt>
                <c:pt idx="68">
                  <c:v>20032</c:v>
                </c:pt>
                <c:pt idx="69">
                  <c:v>21480</c:v>
                </c:pt>
                <c:pt idx="70">
                  <c:v>20536</c:v>
                </c:pt>
                <c:pt idx="71">
                  <c:v>19836</c:v>
                </c:pt>
                <c:pt idx="72">
                  <c:v>23937</c:v>
                </c:pt>
                <c:pt idx="73">
                  <c:v>26963</c:v>
                </c:pt>
                <c:pt idx="74">
                  <c:v>29029</c:v>
                </c:pt>
                <c:pt idx="75">
                  <c:v>28022</c:v>
                </c:pt>
                <c:pt idx="76">
                  <c:v>28815</c:v>
                </c:pt>
                <c:pt idx="77">
                  <c:v>28522</c:v>
                </c:pt>
                <c:pt idx="78">
                  <c:v>30126</c:v>
                </c:pt>
                <c:pt idx="79">
                  <c:v>25552</c:v>
                </c:pt>
                <c:pt idx="80">
                  <c:v>23405</c:v>
                </c:pt>
                <c:pt idx="81">
                  <c:v>22457</c:v>
                </c:pt>
                <c:pt idx="82">
                  <c:v>22287</c:v>
                </c:pt>
                <c:pt idx="83">
                  <c:v>25998</c:v>
                </c:pt>
                <c:pt idx="84">
                  <c:v>26178</c:v>
                </c:pt>
                <c:pt idx="85">
                  <c:v>26424</c:v>
                </c:pt>
                <c:pt idx="86">
                  <c:v>25270</c:v>
                </c:pt>
                <c:pt idx="87">
                  <c:v>25833</c:v>
                </c:pt>
                <c:pt idx="88">
                  <c:v>24113</c:v>
                </c:pt>
                <c:pt idx="89">
                  <c:v>24662</c:v>
                </c:pt>
                <c:pt idx="90">
                  <c:v>21725</c:v>
                </c:pt>
                <c:pt idx="91">
                  <c:v>22807</c:v>
                </c:pt>
                <c:pt idx="92">
                  <c:v>19488</c:v>
                </c:pt>
                <c:pt idx="93">
                  <c:v>18353</c:v>
                </c:pt>
                <c:pt idx="94">
                  <c:v>20147</c:v>
                </c:pt>
                <c:pt idx="95">
                  <c:v>22422</c:v>
                </c:pt>
                <c:pt idx="96">
                  <c:v>23180</c:v>
                </c:pt>
                <c:pt idx="97">
                  <c:v>21596</c:v>
                </c:pt>
                <c:pt idx="98">
                  <c:v>21277</c:v>
                </c:pt>
                <c:pt idx="99">
                  <c:v>20811</c:v>
                </c:pt>
                <c:pt idx="100">
                  <c:v>22963</c:v>
                </c:pt>
                <c:pt idx="101">
                  <c:v>22045</c:v>
                </c:pt>
                <c:pt idx="102">
                  <c:v>24420</c:v>
                </c:pt>
                <c:pt idx="103">
                  <c:v>24889</c:v>
                </c:pt>
                <c:pt idx="104">
                  <c:v>20159</c:v>
                </c:pt>
                <c:pt idx="105">
                  <c:v>18974</c:v>
                </c:pt>
                <c:pt idx="106">
                  <c:v>20654</c:v>
                </c:pt>
                <c:pt idx="107">
                  <c:v>18733</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3948</c:v>
                </c:pt>
                <c:pt idx="1">
                  <c:v>10792</c:v>
                </c:pt>
                <c:pt idx="2">
                  <c:v>10092</c:v>
                </c:pt>
                <c:pt idx="3">
                  <c:v>6823</c:v>
                </c:pt>
                <c:pt idx="4">
                  <c:v>4430</c:v>
                </c:pt>
                <c:pt idx="5">
                  <c:v>3676</c:v>
                </c:pt>
                <c:pt idx="6">
                  <c:v>3566</c:v>
                </c:pt>
                <c:pt idx="7">
                  <c:v>7690</c:v>
                </c:pt>
                <c:pt idx="8">
                  <c:v>3042</c:v>
                </c:pt>
                <c:pt idx="9">
                  <c:v>3114</c:v>
                </c:pt>
                <c:pt idx="10">
                  <c:v>6582</c:v>
                </c:pt>
                <c:pt idx="11">
                  <c:v>4008</c:v>
                </c:pt>
                <c:pt idx="12">
                  <c:v>2248</c:v>
                </c:pt>
                <c:pt idx="13">
                  <c:v>2128</c:v>
                </c:pt>
                <c:pt idx="14">
                  <c:v>3146</c:v>
                </c:pt>
                <c:pt idx="15">
                  <c:v>7800</c:v>
                </c:pt>
                <c:pt idx="16">
                  <c:v>3170</c:v>
                </c:pt>
                <c:pt idx="17">
                  <c:v>634</c:v>
                </c:pt>
                <c:pt idx="18">
                  <c:v>914</c:v>
                </c:pt>
                <c:pt idx="19">
                  <c:v>794</c:v>
                </c:pt>
                <c:pt idx="20">
                  <c:v>1802</c:v>
                </c:pt>
                <c:pt idx="21">
                  <c:v>244</c:v>
                </c:pt>
                <c:pt idx="22">
                  <c:v>78</c:v>
                </c:pt>
                <c:pt idx="23">
                  <c:v>192</c:v>
                </c:pt>
                <c:pt idx="24">
                  <c:v>66</c:v>
                </c:pt>
                <c:pt idx="25">
                  <c:v>156</c:v>
                </c:pt>
                <c:pt idx="26">
                  <c:v>138</c:v>
                </c:pt>
                <c:pt idx="27">
                  <c:v>1500</c:v>
                </c:pt>
                <c:pt idx="28">
                  <c:v>5162</c:v>
                </c:pt>
                <c:pt idx="29">
                  <c:v>2728</c:v>
                </c:pt>
                <c:pt idx="30">
                  <c:v>2124</c:v>
                </c:pt>
                <c:pt idx="31">
                  <c:v>1920</c:v>
                </c:pt>
                <c:pt idx="32">
                  <c:v>1896</c:v>
                </c:pt>
                <c:pt idx="33">
                  <c:v>1758</c:v>
                </c:pt>
                <c:pt idx="34">
                  <c:v>1512</c:v>
                </c:pt>
                <c:pt idx="35">
                  <c:v>422</c:v>
                </c:pt>
                <c:pt idx="36">
                  <c:v>216</c:v>
                </c:pt>
                <c:pt idx="37">
                  <c:v>110</c:v>
                </c:pt>
                <c:pt idx="38">
                  <c:v>732</c:v>
                </c:pt>
                <c:pt idx="39">
                  <c:v>1514</c:v>
                </c:pt>
                <c:pt idx="40">
                  <c:v>9464</c:v>
                </c:pt>
                <c:pt idx="41">
                  <c:v>10943</c:v>
                </c:pt>
                <c:pt idx="42">
                  <c:v>11873</c:v>
                </c:pt>
                <c:pt idx="43">
                  <c:v>13733</c:v>
                </c:pt>
                <c:pt idx="44">
                  <c:v>14194</c:v>
                </c:pt>
                <c:pt idx="45">
                  <c:v>16678</c:v>
                </c:pt>
                <c:pt idx="46">
                  <c:v>26659</c:v>
                </c:pt>
                <c:pt idx="47">
                  <c:v>26457</c:v>
                </c:pt>
                <c:pt idx="48">
                  <c:v>34149</c:v>
                </c:pt>
                <c:pt idx="49">
                  <c:v>54478</c:v>
                </c:pt>
                <c:pt idx="50">
                  <c:v>91195</c:v>
                </c:pt>
                <c:pt idx="51">
                  <c:v>141008</c:v>
                </c:pt>
                <c:pt idx="52">
                  <c:v>5142</c:v>
                </c:pt>
                <c:pt idx="53">
                  <c:v>5587</c:v>
                </c:pt>
                <c:pt idx="54">
                  <c:v>2614</c:v>
                </c:pt>
                <c:pt idx="55">
                  <c:v>1455</c:v>
                </c:pt>
                <c:pt idx="56">
                  <c:v>725</c:v>
                </c:pt>
                <c:pt idx="57">
                  <c:v>702</c:v>
                </c:pt>
                <c:pt idx="58">
                  <c:v>3966</c:v>
                </c:pt>
                <c:pt idx="59">
                  <c:v>11541</c:v>
                </c:pt>
                <c:pt idx="60">
                  <c:v>7003</c:v>
                </c:pt>
                <c:pt idx="61">
                  <c:v>6231</c:v>
                </c:pt>
                <c:pt idx="62">
                  <c:v>6604</c:v>
                </c:pt>
                <c:pt idx="63">
                  <c:v>12253</c:v>
                </c:pt>
                <c:pt idx="64">
                  <c:v>6359</c:v>
                </c:pt>
                <c:pt idx="65">
                  <c:v>6038</c:v>
                </c:pt>
                <c:pt idx="66">
                  <c:v>6659</c:v>
                </c:pt>
                <c:pt idx="67">
                  <c:v>11896</c:v>
                </c:pt>
                <c:pt idx="68">
                  <c:v>6213</c:v>
                </c:pt>
                <c:pt idx="69">
                  <c:v>5746</c:v>
                </c:pt>
                <c:pt idx="70">
                  <c:v>5370</c:v>
                </c:pt>
                <c:pt idx="71">
                  <c:v>6305</c:v>
                </c:pt>
                <c:pt idx="72">
                  <c:v>6948</c:v>
                </c:pt>
                <c:pt idx="73">
                  <c:v>41</c:v>
                </c:pt>
                <c:pt idx="74">
                  <c:v>266</c:v>
                </c:pt>
                <c:pt idx="75">
                  <c:v>71</c:v>
                </c:pt>
                <c:pt idx="76">
                  <c:v>99</c:v>
                </c:pt>
                <c:pt idx="77">
                  <c:v>56</c:v>
                </c:pt>
                <c:pt idx="78">
                  <c:v>360</c:v>
                </c:pt>
                <c:pt idx="79">
                  <c:v>2886</c:v>
                </c:pt>
                <c:pt idx="80">
                  <c:v>6201</c:v>
                </c:pt>
                <c:pt idx="81">
                  <c:v>6005</c:v>
                </c:pt>
                <c:pt idx="82">
                  <c:v>5918</c:v>
                </c:pt>
                <c:pt idx="83">
                  <c:v>1399</c:v>
                </c:pt>
                <c:pt idx="84">
                  <c:v>1122</c:v>
                </c:pt>
                <c:pt idx="85">
                  <c:v>242</c:v>
                </c:pt>
                <c:pt idx="86">
                  <c:v>792</c:v>
                </c:pt>
                <c:pt idx="87">
                  <c:v>249</c:v>
                </c:pt>
                <c:pt idx="88">
                  <c:v>257</c:v>
                </c:pt>
                <c:pt idx="89">
                  <c:v>261</c:v>
                </c:pt>
                <c:pt idx="90">
                  <c:v>1199</c:v>
                </c:pt>
                <c:pt idx="91">
                  <c:v>2960</c:v>
                </c:pt>
                <c:pt idx="92">
                  <c:v>6665</c:v>
                </c:pt>
                <c:pt idx="93">
                  <c:v>12478</c:v>
                </c:pt>
                <c:pt idx="94">
                  <c:v>11648</c:v>
                </c:pt>
                <c:pt idx="95">
                  <c:v>10494</c:v>
                </c:pt>
                <c:pt idx="96">
                  <c:v>13311</c:v>
                </c:pt>
                <c:pt idx="97">
                  <c:v>16093</c:v>
                </c:pt>
                <c:pt idx="98">
                  <c:v>19979</c:v>
                </c:pt>
                <c:pt idx="99">
                  <c:v>32195</c:v>
                </c:pt>
                <c:pt idx="100">
                  <c:v>35366</c:v>
                </c:pt>
                <c:pt idx="101">
                  <c:v>49136</c:v>
                </c:pt>
                <c:pt idx="102">
                  <c:v>76956</c:v>
                </c:pt>
                <c:pt idx="103">
                  <c:v>200721</c:v>
                </c:pt>
                <c:pt idx="104">
                  <c:v>6521</c:v>
                </c:pt>
                <c:pt idx="105">
                  <c:v>1504</c:v>
                </c:pt>
                <c:pt idx="106">
                  <c:v>778</c:v>
                </c:pt>
                <c:pt idx="107">
                  <c:v>412</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4522</c:v>
                </c:pt>
                <c:pt idx="1">
                  <c:v>15778</c:v>
                </c:pt>
                <c:pt idx="2">
                  <c:v>17550</c:v>
                </c:pt>
                <c:pt idx="3">
                  <c:v>18314</c:v>
                </c:pt>
                <c:pt idx="4">
                  <c:v>19606</c:v>
                </c:pt>
                <c:pt idx="5">
                  <c:v>18010</c:v>
                </c:pt>
                <c:pt idx="6">
                  <c:v>15124</c:v>
                </c:pt>
                <c:pt idx="7">
                  <c:v>11682</c:v>
                </c:pt>
                <c:pt idx="8">
                  <c:v>10786</c:v>
                </c:pt>
                <c:pt idx="9">
                  <c:v>10832</c:v>
                </c:pt>
                <c:pt idx="10">
                  <c:v>6970</c:v>
                </c:pt>
                <c:pt idx="11">
                  <c:v>4926</c:v>
                </c:pt>
                <c:pt idx="12">
                  <c:v>3030</c:v>
                </c:pt>
                <c:pt idx="13">
                  <c:v>2086</c:v>
                </c:pt>
                <c:pt idx="14">
                  <c:v>3004</c:v>
                </c:pt>
                <c:pt idx="15">
                  <c:v>9706</c:v>
                </c:pt>
                <c:pt idx="16">
                  <c:v>15682</c:v>
                </c:pt>
                <c:pt idx="17">
                  <c:v>18092</c:v>
                </c:pt>
                <c:pt idx="18">
                  <c:v>17852</c:v>
                </c:pt>
                <c:pt idx="19">
                  <c:v>17714</c:v>
                </c:pt>
                <c:pt idx="20">
                  <c:v>18206</c:v>
                </c:pt>
                <c:pt idx="21">
                  <c:v>19362</c:v>
                </c:pt>
                <c:pt idx="22">
                  <c:v>19396</c:v>
                </c:pt>
                <c:pt idx="23">
                  <c:v>18960</c:v>
                </c:pt>
                <c:pt idx="24">
                  <c:v>18446</c:v>
                </c:pt>
                <c:pt idx="25">
                  <c:v>18976</c:v>
                </c:pt>
                <c:pt idx="26">
                  <c:v>19176</c:v>
                </c:pt>
                <c:pt idx="27">
                  <c:v>17018</c:v>
                </c:pt>
                <c:pt idx="28">
                  <c:v>16364</c:v>
                </c:pt>
                <c:pt idx="29">
                  <c:v>15216</c:v>
                </c:pt>
                <c:pt idx="30">
                  <c:v>16976</c:v>
                </c:pt>
                <c:pt idx="31">
                  <c:v>15698</c:v>
                </c:pt>
                <c:pt idx="32">
                  <c:v>16060</c:v>
                </c:pt>
                <c:pt idx="33">
                  <c:v>15454</c:v>
                </c:pt>
                <c:pt idx="34">
                  <c:v>14868</c:v>
                </c:pt>
                <c:pt idx="35">
                  <c:v>14974</c:v>
                </c:pt>
                <c:pt idx="36">
                  <c:v>13662</c:v>
                </c:pt>
                <c:pt idx="37">
                  <c:v>13692</c:v>
                </c:pt>
                <c:pt idx="38">
                  <c:v>13498</c:v>
                </c:pt>
                <c:pt idx="39">
                  <c:v>13990</c:v>
                </c:pt>
                <c:pt idx="40">
                  <c:v>13030</c:v>
                </c:pt>
                <c:pt idx="41">
                  <c:v>12642</c:v>
                </c:pt>
                <c:pt idx="42">
                  <c:v>12808</c:v>
                </c:pt>
                <c:pt idx="43">
                  <c:v>13168</c:v>
                </c:pt>
                <c:pt idx="44">
                  <c:v>13418</c:v>
                </c:pt>
                <c:pt idx="45">
                  <c:v>12582</c:v>
                </c:pt>
                <c:pt idx="46">
                  <c:v>11826</c:v>
                </c:pt>
                <c:pt idx="47">
                  <c:v>12300</c:v>
                </c:pt>
                <c:pt idx="48">
                  <c:v>13352</c:v>
                </c:pt>
                <c:pt idx="49">
                  <c:v>12822</c:v>
                </c:pt>
                <c:pt idx="50">
                  <c:v>15270</c:v>
                </c:pt>
                <c:pt idx="51">
                  <c:v>12388</c:v>
                </c:pt>
                <c:pt idx="52">
                  <c:v>13208</c:v>
                </c:pt>
                <c:pt idx="53">
                  <c:v>12118</c:v>
                </c:pt>
                <c:pt idx="54">
                  <c:v>10732</c:v>
                </c:pt>
                <c:pt idx="55">
                  <c:v>11680</c:v>
                </c:pt>
                <c:pt idx="56">
                  <c:v>12180</c:v>
                </c:pt>
                <c:pt idx="57">
                  <c:v>11788</c:v>
                </c:pt>
                <c:pt idx="58">
                  <c:v>11620</c:v>
                </c:pt>
                <c:pt idx="59">
                  <c:v>12112</c:v>
                </c:pt>
                <c:pt idx="60">
                  <c:v>12454</c:v>
                </c:pt>
                <c:pt idx="61">
                  <c:v>12532</c:v>
                </c:pt>
                <c:pt idx="62">
                  <c:v>11568</c:v>
                </c:pt>
                <c:pt idx="63">
                  <c:v>11360</c:v>
                </c:pt>
                <c:pt idx="64">
                  <c:v>11956</c:v>
                </c:pt>
                <c:pt idx="65">
                  <c:v>11974</c:v>
                </c:pt>
                <c:pt idx="66">
                  <c:v>11810</c:v>
                </c:pt>
                <c:pt idx="67">
                  <c:v>11854</c:v>
                </c:pt>
                <c:pt idx="68">
                  <c:v>11626</c:v>
                </c:pt>
                <c:pt idx="69">
                  <c:v>12746</c:v>
                </c:pt>
                <c:pt idx="70">
                  <c:v>12014</c:v>
                </c:pt>
                <c:pt idx="71">
                  <c:v>11260</c:v>
                </c:pt>
                <c:pt idx="72">
                  <c:v>11794</c:v>
                </c:pt>
                <c:pt idx="73">
                  <c:v>12150</c:v>
                </c:pt>
                <c:pt idx="74">
                  <c:v>13100</c:v>
                </c:pt>
                <c:pt idx="75">
                  <c:v>12234</c:v>
                </c:pt>
                <c:pt idx="76">
                  <c:v>11410</c:v>
                </c:pt>
                <c:pt idx="77">
                  <c:v>8662</c:v>
                </c:pt>
                <c:pt idx="78">
                  <c:v>6996</c:v>
                </c:pt>
                <c:pt idx="79">
                  <c:v>4252</c:v>
                </c:pt>
                <c:pt idx="80">
                  <c:v>3462</c:v>
                </c:pt>
                <c:pt idx="81">
                  <c:v>6676</c:v>
                </c:pt>
                <c:pt idx="82">
                  <c:v>10556</c:v>
                </c:pt>
                <c:pt idx="83">
                  <c:v>11024</c:v>
                </c:pt>
                <c:pt idx="84">
                  <c:v>11662</c:v>
                </c:pt>
                <c:pt idx="85">
                  <c:v>11688</c:v>
                </c:pt>
                <c:pt idx="86">
                  <c:v>11938</c:v>
                </c:pt>
                <c:pt idx="87">
                  <c:v>11670</c:v>
                </c:pt>
                <c:pt idx="88">
                  <c:v>11066</c:v>
                </c:pt>
                <c:pt idx="89">
                  <c:v>10814</c:v>
                </c:pt>
                <c:pt idx="90">
                  <c:v>10408</c:v>
                </c:pt>
                <c:pt idx="91">
                  <c:v>11444</c:v>
                </c:pt>
                <c:pt idx="92">
                  <c:v>10310</c:v>
                </c:pt>
                <c:pt idx="93">
                  <c:v>10668</c:v>
                </c:pt>
                <c:pt idx="94">
                  <c:v>10128</c:v>
                </c:pt>
                <c:pt idx="95">
                  <c:v>10242</c:v>
                </c:pt>
                <c:pt idx="96">
                  <c:v>10825</c:v>
                </c:pt>
                <c:pt idx="97">
                  <c:v>10044</c:v>
                </c:pt>
                <c:pt idx="98">
                  <c:v>9758</c:v>
                </c:pt>
                <c:pt idx="99">
                  <c:v>9276</c:v>
                </c:pt>
                <c:pt idx="100">
                  <c:v>10171</c:v>
                </c:pt>
                <c:pt idx="101">
                  <c:v>10064</c:v>
                </c:pt>
                <c:pt idx="102">
                  <c:v>10558</c:v>
                </c:pt>
                <c:pt idx="103">
                  <c:v>11044</c:v>
                </c:pt>
                <c:pt idx="104">
                  <c:v>10236</c:v>
                </c:pt>
                <c:pt idx="105">
                  <c:v>9550</c:v>
                </c:pt>
                <c:pt idx="106">
                  <c:v>10832</c:v>
                </c:pt>
                <c:pt idx="107">
                  <c:v>10246</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2</c:v>
                </c:pt>
                <c:pt idx="1">
                  <c:v>4</c:v>
                </c:pt>
                <c:pt idx="2">
                  <c:v>36</c:v>
                </c:pt>
                <c:pt idx="3">
                  <c:v>32</c:v>
                </c:pt>
                <c:pt idx="4">
                  <c:v>24</c:v>
                </c:pt>
                <c:pt idx="5">
                  <c:v>30</c:v>
                </c:pt>
                <c:pt idx="6">
                  <c:v>12</c:v>
                </c:pt>
                <c:pt idx="7">
                  <c:v>18</c:v>
                </c:pt>
                <c:pt idx="8">
                  <c:v>6</c:v>
                </c:pt>
                <c:pt idx="9">
                  <c:v>2</c:v>
                </c:pt>
                <c:pt idx="10">
                  <c:v>4</c:v>
                </c:pt>
                <c:pt idx="11">
                  <c:v>46</c:v>
                </c:pt>
                <c:pt idx="12">
                  <c:v>26</c:v>
                </c:pt>
                <c:pt idx="13">
                  <c:v>26</c:v>
                </c:pt>
                <c:pt idx="14">
                  <c:v>1636</c:v>
                </c:pt>
                <c:pt idx="15">
                  <c:v>1336</c:v>
                </c:pt>
                <c:pt idx="16">
                  <c:v>576</c:v>
                </c:pt>
                <c:pt idx="17">
                  <c:v>302</c:v>
                </c:pt>
                <c:pt idx="18">
                  <c:v>222</c:v>
                </c:pt>
                <c:pt idx="19">
                  <c:v>146</c:v>
                </c:pt>
                <c:pt idx="20">
                  <c:v>154</c:v>
                </c:pt>
                <c:pt idx="21">
                  <c:v>92</c:v>
                </c:pt>
                <c:pt idx="22">
                  <c:v>122</c:v>
                </c:pt>
                <c:pt idx="23">
                  <c:v>50</c:v>
                </c:pt>
                <c:pt idx="24">
                  <c:v>84</c:v>
                </c:pt>
                <c:pt idx="25">
                  <c:v>112</c:v>
                </c:pt>
                <c:pt idx="26">
                  <c:v>166</c:v>
                </c:pt>
                <c:pt idx="27">
                  <c:v>94</c:v>
                </c:pt>
                <c:pt idx="28">
                  <c:v>76</c:v>
                </c:pt>
                <c:pt idx="29">
                  <c:v>100</c:v>
                </c:pt>
                <c:pt idx="30">
                  <c:v>78</c:v>
                </c:pt>
                <c:pt idx="31">
                  <c:v>96</c:v>
                </c:pt>
                <c:pt idx="32">
                  <c:v>108</c:v>
                </c:pt>
                <c:pt idx="33">
                  <c:v>150</c:v>
                </c:pt>
                <c:pt idx="34">
                  <c:v>146</c:v>
                </c:pt>
                <c:pt idx="35">
                  <c:v>68</c:v>
                </c:pt>
                <c:pt idx="36">
                  <c:v>136</c:v>
                </c:pt>
                <c:pt idx="37">
                  <c:v>96</c:v>
                </c:pt>
                <c:pt idx="38">
                  <c:v>106</c:v>
                </c:pt>
                <c:pt idx="39">
                  <c:v>192</c:v>
                </c:pt>
                <c:pt idx="40">
                  <c:v>252</c:v>
                </c:pt>
                <c:pt idx="41">
                  <c:v>200</c:v>
                </c:pt>
                <c:pt idx="42">
                  <c:v>270</c:v>
                </c:pt>
                <c:pt idx="43">
                  <c:v>256</c:v>
                </c:pt>
                <c:pt idx="44">
                  <c:v>192</c:v>
                </c:pt>
                <c:pt idx="45">
                  <c:v>274</c:v>
                </c:pt>
                <c:pt idx="46">
                  <c:v>308</c:v>
                </c:pt>
                <c:pt idx="47">
                  <c:v>260</c:v>
                </c:pt>
                <c:pt idx="48">
                  <c:v>292</c:v>
                </c:pt>
                <c:pt idx="49">
                  <c:v>256</c:v>
                </c:pt>
                <c:pt idx="50">
                  <c:v>302</c:v>
                </c:pt>
                <c:pt idx="51">
                  <c:v>282</c:v>
                </c:pt>
                <c:pt idx="52">
                  <c:v>210</c:v>
                </c:pt>
                <c:pt idx="53">
                  <c:v>340</c:v>
                </c:pt>
                <c:pt idx="54">
                  <c:v>226</c:v>
                </c:pt>
                <c:pt idx="55">
                  <c:v>228</c:v>
                </c:pt>
                <c:pt idx="56">
                  <c:v>262</c:v>
                </c:pt>
                <c:pt idx="57">
                  <c:v>322</c:v>
                </c:pt>
                <c:pt idx="58">
                  <c:v>222</c:v>
                </c:pt>
                <c:pt idx="59">
                  <c:v>286</c:v>
                </c:pt>
                <c:pt idx="60">
                  <c:v>298</c:v>
                </c:pt>
                <c:pt idx="61">
                  <c:v>316</c:v>
                </c:pt>
                <c:pt idx="62">
                  <c:v>316</c:v>
                </c:pt>
                <c:pt idx="63">
                  <c:v>188</c:v>
                </c:pt>
                <c:pt idx="64">
                  <c:v>224</c:v>
                </c:pt>
                <c:pt idx="65">
                  <c:v>224</c:v>
                </c:pt>
                <c:pt idx="66">
                  <c:v>180</c:v>
                </c:pt>
                <c:pt idx="67">
                  <c:v>280</c:v>
                </c:pt>
                <c:pt idx="68">
                  <c:v>284</c:v>
                </c:pt>
                <c:pt idx="69">
                  <c:v>246</c:v>
                </c:pt>
                <c:pt idx="70">
                  <c:v>258</c:v>
                </c:pt>
                <c:pt idx="71">
                  <c:v>250</c:v>
                </c:pt>
                <c:pt idx="72">
                  <c:v>236</c:v>
                </c:pt>
                <c:pt idx="73">
                  <c:v>216</c:v>
                </c:pt>
                <c:pt idx="74">
                  <c:v>182</c:v>
                </c:pt>
                <c:pt idx="75">
                  <c:v>198</c:v>
                </c:pt>
                <c:pt idx="76">
                  <c:v>270</c:v>
                </c:pt>
                <c:pt idx="77">
                  <c:v>178</c:v>
                </c:pt>
                <c:pt idx="78">
                  <c:v>198</c:v>
                </c:pt>
                <c:pt idx="79">
                  <c:v>106</c:v>
                </c:pt>
                <c:pt idx="80">
                  <c:v>126</c:v>
                </c:pt>
                <c:pt idx="81">
                  <c:v>146</c:v>
                </c:pt>
                <c:pt idx="82">
                  <c:v>196</c:v>
                </c:pt>
                <c:pt idx="83">
                  <c:v>160</c:v>
                </c:pt>
                <c:pt idx="84">
                  <c:v>154</c:v>
                </c:pt>
                <c:pt idx="85">
                  <c:v>132</c:v>
                </c:pt>
                <c:pt idx="86">
                  <c:v>138</c:v>
                </c:pt>
                <c:pt idx="87">
                  <c:v>206</c:v>
                </c:pt>
                <c:pt idx="88">
                  <c:v>194</c:v>
                </c:pt>
                <c:pt idx="89">
                  <c:v>178</c:v>
                </c:pt>
                <c:pt idx="90">
                  <c:v>288</c:v>
                </c:pt>
                <c:pt idx="91">
                  <c:v>242</c:v>
                </c:pt>
                <c:pt idx="92">
                  <c:v>204</c:v>
                </c:pt>
                <c:pt idx="93">
                  <c:v>182</c:v>
                </c:pt>
                <c:pt idx="94">
                  <c:v>166</c:v>
                </c:pt>
                <c:pt idx="95">
                  <c:v>136</c:v>
                </c:pt>
                <c:pt idx="96">
                  <c:v>196</c:v>
                </c:pt>
                <c:pt idx="97">
                  <c:v>186</c:v>
                </c:pt>
                <c:pt idx="98">
                  <c:v>218</c:v>
                </c:pt>
                <c:pt idx="99">
                  <c:v>196</c:v>
                </c:pt>
                <c:pt idx="100">
                  <c:v>196</c:v>
                </c:pt>
                <c:pt idx="101">
                  <c:v>204</c:v>
                </c:pt>
                <c:pt idx="102">
                  <c:v>240</c:v>
                </c:pt>
                <c:pt idx="103">
                  <c:v>238</c:v>
                </c:pt>
                <c:pt idx="104">
                  <c:v>222</c:v>
                </c:pt>
                <c:pt idx="105">
                  <c:v>254</c:v>
                </c:pt>
                <c:pt idx="106">
                  <c:v>186</c:v>
                </c:pt>
                <c:pt idx="107">
                  <c:v>228</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54</c:v>
                </c:pt>
                <c:pt idx="1">
                  <c:v>166</c:v>
                </c:pt>
                <c:pt idx="2">
                  <c:v>482</c:v>
                </c:pt>
                <c:pt idx="3">
                  <c:v>912</c:v>
                </c:pt>
                <c:pt idx="4">
                  <c:v>1038</c:v>
                </c:pt>
                <c:pt idx="5">
                  <c:v>1056</c:v>
                </c:pt>
                <c:pt idx="6">
                  <c:v>918</c:v>
                </c:pt>
                <c:pt idx="7">
                  <c:v>1054</c:v>
                </c:pt>
                <c:pt idx="8">
                  <c:v>1262</c:v>
                </c:pt>
                <c:pt idx="9">
                  <c:v>1014</c:v>
                </c:pt>
                <c:pt idx="10">
                  <c:v>978</c:v>
                </c:pt>
                <c:pt idx="11">
                  <c:v>966</c:v>
                </c:pt>
                <c:pt idx="12">
                  <c:v>1042</c:v>
                </c:pt>
                <c:pt idx="13">
                  <c:v>1246</c:v>
                </c:pt>
                <c:pt idx="14">
                  <c:v>1292</c:v>
                </c:pt>
                <c:pt idx="15">
                  <c:v>1214</c:v>
                </c:pt>
                <c:pt idx="16">
                  <c:v>1132</c:v>
                </c:pt>
                <c:pt idx="17">
                  <c:v>1260</c:v>
                </c:pt>
                <c:pt idx="18">
                  <c:v>1150</c:v>
                </c:pt>
                <c:pt idx="19">
                  <c:v>1194</c:v>
                </c:pt>
                <c:pt idx="20">
                  <c:v>1188</c:v>
                </c:pt>
                <c:pt idx="21">
                  <c:v>1114</c:v>
                </c:pt>
                <c:pt idx="22">
                  <c:v>1154</c:v>
                </c:pt>
                <c:pt idx="23">
                  <c:v>1196</c:v>
                </c:pt>
                <c:pt idx="24">
                  <c:v>1280</c:v>
                </c:pt>
                <c:pt idx="25">
                  <c:v>1142</c:v>
                </c:pt>
                <c:pt idx="26">
                  <c:v>1236</c:v>
                </c:pt>
                <c:pt idx="27">
                  <c:v>1138</c:v>
                </c:pt>
                <c:pt idx="28">
                  <c:v>1216</c:v>
                </c:pt>
                <c:pt idx="29">
                  <c:v>1114</c:v>
                </c:pt>
                <c:pt idx="30">
                  <c:v>1210</c:v>
                </c:pt>
                <c:pt idx="31">
                  <c:v>1168</c:v>
                </c:pt>
                <c:pt idx="32">
                  <c:v>1234</c:v>
                </c:pt>
                <c:pt idx="33">
                  <c:v>1194</c:v>
                </c:pt>
                <c:pt idx="34">
                  <c:v>1132</c:v>
                </c:pt>
                <c:pt idx="35">
                  <c:v>1010</c:v>
                </c:pt>
                <c:pt idx="36">
                  <c:v>926</c:v>
                </c:pt>
                <c:pt idx="37">
                  <c:v>974</c:v>
                </c:pt>
                <c:pt idx="38">
                  <c:v>970</c:v>
                </c:pt>
                <c:pt idx="39">
                  <c:v>960</c:v>
                </c:pt>
                <c:pt idx="40">
                  <c:v>944</c:v>
                </c:pt>
                <c:pt idx="41">
                  <c:v>932</c:v>
                </c:pt>
                <c:pt idx="42">
                  <c:v>896</c:v>
                </c:pt>
                <c:pt idx="43">
                  <c:v>868</c:v>
                </c:pt>
                <c:pt idx="44">
                  <c:v>874</c:v>
                </c:pt>
                <c:pt idx="45">
                  <c:v>850</c:v>
                </c:pt>
                <c:pt idx="46">
                  <c:v>718</c:v>
                </c:pt>
                <c:pt idx="47">
                  <c:v>772</c:v>
                </c:pt>
                <c:pt idx="48">
                  <c:v>676</c:v>
                </c:pt>
                <c:pt idx="49">
                  <c:v>468</c:v>
                </c:pt>
                <c:pt idx="50">
                  <c:v>374</c:v>
                </c:pt>
                <c:pt idx="51">
                  <c:v>256</c:v>
                </c:pt>
                <c:pt idx="52">
                  <c:v>150</c:v>
                </c:pt>
                <c:pt idx="53">
                  <c:v>40</c:v>
                </c:pt>
                <c:pt idx="54">
                  <c:v>36</c:v>
                </c:pt>
                <c:pt idx="55">
                  <c:v>4</c:v>
                </c:pt>
                <c:pt idx="56">
                  <c:v>10</c:v>
                </c:pt>
                <c:pt idx="57">
                  <c:v>4</c:v>
                </c:pt>
                <c:pt idx="58">
                  <c:v>6</c:v>
                </c:pt>
                <c:pt idx="59">
                  <c:v>12</c:v>
                </c:pt>
                <c:pt idx="60">
                  <c:v>8</c:v>
                </c:pt>
                <c:pt idx="61">
                  <c:v>8</c:v>
                </c:pt>
                <c:pt idx="62">
                  <c:v>10</c:v>
                </c:pt>
                <c:pt idx="63">
                  <c:v>6</c:v>
                </c:pt>
                <c:pt idx="64">
                  <c:v>6</c:v>
                </c:pt>
                <c:pt idx="65">
                  <c:v>0</c:v>
                </c:pt>
                <c:pt idx="66">
                  <c:v>0</c:v>
                </c:pt>
                <c:pt idx="67">
                  <c:v>4</c:v>
                </c:pt>
                <c:pt idx="68">
                  <c:v>0</c:v>
                </c:pt>
                <c:pt idx="69">
                  <c:v>4</c:v>
                </c:pt>
                <c:pt idx="70">
                  <c:v>6</c:v>
                </c:pt>
                <c:pt idx="71">
                  <c:v>8</c:v>
                </c:pt>
                <c:pt idx="72">
                  <c:v>2</c:v>
                </c:pt>
                <c:pt idx="73">
                  <c:v>6</c:v>
                </c:pt>
                <c:pt idx="74">
                  <c:v>2</c:v>
                </c:pt>
                <c:pt idx="75">
                  <c:v>0</c:v>
                </c:pt>
                <c:pt idx="76">
                  <c:v>0</c:v>
                </c:pt>
                <c:pt idx="77">
                  <c:v>0</c:v>
                </c:pt>
                <c:pt idx="78">
                  <c:v>0</c:v>
                </c:pt>
                <c:pt idx="79">
                  <c:v>0</c:v>
                </c:pt>
                <c:pt idx="80">
                  <c:v>2</c:v>
                </c:pt>
                <c:pt idx="81">
                  <c:v>0</c:v>
                </c:pt>
                <c:pt idx="82">
                  <c:v>0</c:v>
                </c:pt>
                <c:pt idx="83">
                  <c:v>0</c:v>
                </c:pt>
                <c:pt idx="84">
                  <c:v>0</c:v>
                </c:pt>
                <c:pt idx="85">
                  <c:v>0</c:v>
                </c:pt>
                <c:pt idx="86">
                  <c:v>0</c:v>
                </c:pt>
                <c:pt idx="87">
                  <c:v>0</c:v>
                </c:pt>
                <c:pt idx="88">
                  <c:v>2</c:v>
                </c:pt>
                <c:pt idx="89">
                  <c:v>0</c:v>
                </c:pt>
                <c:pt idx="90">
                  <c:v>4</c:v>
                </c:pt>
                <c:pt idx="91">
                  <c:v>0</c:v>
                </c:pt>
                <c:pt idx="92">
                  <c:v>2</c:v>
                </c:pt>
                <c:pt idx="93">
                  <c:v>0</c:v>
                </c:pt>
                <c:pt idx="94">
                  <c:v>0</c:v>
                </c:pt>
                <c:pt idx="95">
                  <c:v>0</c:v>
                </c:pt>
                <c:pt idx="96">
                  <c:v>2</c:v>
                </c:pt>
                <c:pt idx="97">
                  <c:v>0</c:v>
                </c:pt>
                <c:pt idx="98">
                  <c:v>0</c:v>
                </c:pt>
                <c:pt idx="99">
                  <c:v>0</c:v>
                </c:pt>
                <c:pt idx="100">
                  <c:v>0</c:v>
                </c:pt>
                <c:pt idx="101">
                  <c:v>0</c:v>
                </c:pt>
                <c:pt idx="102">
                  <c:v>2</c:v>
                </c:pt>
                <c:pt idx="103">
                  <c:v>12</c:v>
                </c:pt>
                <c:pt idx="104">
                  <c:v>26</c:v>
                </c:pt>
                <c:pt idx="105">
                  <c:v>106</c:v>
                </c:pt>
                <c:pt idx="106">
                  <c:v>514</c:v>
                </c:pt>
                <c:pt idx="107">
                  <c:v>848</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0</c:v>
                </c:pt>
                <c:pt idx="1">
                  <c:v>12</c:v>
                </c:pt>
                <c:pt idx="2">
                  <c:v>30</c:v>
                </c:pt>
                <c:pt idx="3">
                  <c:v>28</c:v>
                </c:pt>
                <c:pt idx="4">
                  <c:v>10</c:v>
                </c:pt>
                <c:pt idx="5">
                  <c:v>62</c:v>
                </c:pt>
                <c:pt idx="6">
                  <c:v>60</c:v>
                </c:pt>
                <c:pt idx="7">
                  <c:v>72</c:v>
                </c:pt>
                <c:pt idx="8">
                  <c:v>30</c:v>
                </c:pt>
                <c:pt idx="9">
                  <c:v>54</c:v>
                </c:pt>
                <c:pt idx="10">
                  <c:v>52</c:v>
                </c:pt>
                <c:pt idx="11">
                  <c:v>74</c:v>
                </c:pt>
                <c:pt idx="12">
                  <c:v>96</c:v>
                </c:pt>
                <c:pt idx="13">
                  <c:v>96</c:v>
                </c:pt>
                <c:pt idx="14">
                  <c:v>34</c:v>
                </c:pt>
                <c:pt idx="15">
                  <c:v>82</c:v>
                </c:pt>
                <c:pt idx="16">
                  <c:v>68</c:v>
                </c:pt>
                <c:pt idx="17">
                  <c:v>64</c:v>
                </c:pt>
                <c:pt idx="18">
                  <c:v>68</c:v>
                </c:pt>
                <c:pt idx="19">
                  <c:v>62</c:v>
                </c:pt>
                <c:pt idx="20">
                  <c:v>68</c:v>
                </c:pt>
                <c:pt idx="21">
                  <c:v>60</c:v>
                </c:pt>
                <c:pt idx="22">
                  <c:v>86</c:v>
                </c:pt>
                <c:pt idx="23">
                  <c:v>102</c:v>
                </c:pt>
                <c:pt idx="24">
                  <c:v>80</c:v>
                </c:pt>
                <c:pt idx="25">
                  <c:v>64</c:v>
                </c:pt>
                <c:pt idx="26">
                  <c:v>86</c:v>
                </c:pt>
                <c:pt idx="27">
                  <c:v>72</c:v>
                </c:pt>
                <c:pt idx="28">
                  <c:v>66</c:v>
                </c:pt>
                <c:pt idx="29">
                  <c:v>74</c:v>
                </c:pt>
                <c:pt idx="30">
                  <c:v>64</c:v>
                </c:pt>
                <c:pt idx="31">
                  <c:v>48</c:v>
                </c:pt>
                <c:pt idx="32">
                  <c:v>54</c:v>
                </c:pt>
                <c:pt idx="33">
                  <c:v>46</c:v>
                </c:pt>
                <c:pt idx="34">
                  <c:v>36</c:v>
                </c:pt>
                <c:pt idx="35">
                  <c:v>60</c:v>
                </c:pt>
                <c:pt idx="36">
                  <c:v>56</c:v>
                </c:pt>
                <c:pt idx="37">
                  <c:v>88</c:v>
                </c:pt>
                <c:pt idx="38">
                  <c:v>54</c:v>
                </c:pt>
                <c:pt idx="39">
                  <c:v>72</c:v>
                </c:pt>
                <c:pt idx="40">
                  <c:v>784</c:v>
                </c:pt>
                <c:pt idx="41">
                  <c:v>1358</c:v>
                </c:pt>
                <c:pt idx="42">
                  <c:v>1556</c:v>
                </c:pt>
                <c:pt idx="43">
                  <c:v>1718</c:v>
                </c:pt>
                <c:pt idx="44">
                  <c:v>2172</c:v>
                </c:pt>
                <c:pt idx="45">
                  <c:v>2644</c:v>
                </c:pt>
                <c:pt idx="46">
                  <c:v>5026</c:v>
                </c:pt>
                <c:pt idx="47">
                  <c:v>4780</c:v>
                </c:pt>
                <c:pt idx="48">
                  <c:v>7410</c:v>
                </c:pt>
                <c:pt idx="49">
                  <c:v>11988</c:v>
                </c:pt>
                <c:pt idx="50">
                  <c:v>29446</c:v>
                </c:pt>
                <c:pt idx="51">
                  <c:v>100380</c:v>
                </c:pt>
                <c:pt idx="52">
                  <c:v>24608</c:v>
                </c:pt>
                <c:pt idx="53">
                  <c:v>2032</c:v>
                </c:pt>
                <c:pt idx="54">
                  <c:v>720</c:v>
                </c:pt>
                <c:pt idx="55">
                  <c:v>444</c:v>
                </c:pt>
                <c:pt idx="56">
                  <c:v>176</c:v>
                </c:pt>
                <c:pt idx="57">
                  <c:v>220</c:v>
                </c:pt>
                <c:pt idx="58">
                  <c:v>94</c:v>
                </c:pt>
                <c:pt idx="59">
                  <c:v>56</c:v>
                </c:pt>
                <c:pt idx="60">
                  <c:v>32</c:v>
                </c:pt>
                <c:pt idx="61">
                  <c:v>36</c:v>
                </c:pt>
                <c:pt idx="62">
                  <c:v>20</c:v>
                </c:pt>
                <c:pt idx="63">
                  <c:v>122</c:v>
                </c:pt>
                <c:pt idx="64">
                  <c:v>14</c:v>
                </c:pt>
                <c:pt idx="65">
                  <c:v>26</c:v>
                </c:pt>
                <c:pt idx="66">
                  <c:v>20</c:v>
                </c:pt>
                <c:pt idx="67">
                  <c:v>16</c:v>
                </c:pt>
                <c:pt idx="68">
                  <c:v>8</c:v>
                </c:pt>
                <c:pt idx="69">
                  <c:v>4</c:v>
                </c:pt>
                <c:pt idx="70">
                  <c:v>22</c:v>
                </c:pt>
                <c:pt idx="71">
                  <c:v>20</c:v>
                </c:pt>
                <c:pt idx="72">
                  <c:v>4</c:v>
                </c:pt>
                <c:pt idx="73">
                  <c:v>0</c:v>
                </c:pt>
                <c:pt idx="74">
                  <c:v>0</c:v>
                </c:pt>
                <c:pt idx="75">
                  <c:v>6</c:v>
                </c:pt>
                <c:pt idx="76">
                  <c:v>2</c:v>
                </c:pt>
                <c:pt idx="77">
                  <c:v>2</c:v>
                </c:pt>
                <c:pt idx="78">
                  <c:v>2</c:v>
                </c:pt>
                <c:pt idx="79">
                  <c:v>2</c:v>
                </c:pt>
                <c:pt idx="80">
                  <c:v>2</c:v>
                </c:pt>
                <c:pt idx="81">
                  <c:v>2</c:v>
                </c:pt>
                <c:pt idx="82">
                  <c:v>2</c:v>
                </c:pt>
                <c:pt idx="83">
                  <c:v>0</c:v>
                </c:pt>
                <c:pt idx="84">
                  <c:v>0</c:v>
                </c:pt>
                <c:pt idx="85">
                  <c:v>0</c:v>
                </c:pt>
                <c:pt idx="86">
                  <c:v>0</c:v>
                </c:pt>
                <c:pt idx="87">
                  <c:v>2</c:v>
                </c:pt>
                <c:pt idx="88">
                  <c:v>4</c:v>
                </c:pt>
                <c:pt idx="89">
                  <c:v>2</c:v>
                </c:pt>
                <c:pt idx="90">
                  <c:v>0</c:v>
                </c:pt>
                <c:pt idx="91">
                  <c:v>4</c:v>
                </c:pt>
                <c:pt idx="92">
                  <c:v>2</c:v>
                </c:pt>
                <c:pt idx="93">
                  <c:v>0</c:v>
                </c:pt>
                <c:pt idx="94">
                  <c:v>2</c:v>
                </c:pt>
                <c:pt idx="95">
                  <c:v>0</c:v>
                </c:pt>
                <c:pt idx="96">
                  <c:v>4</c:v>
                </c:pt>
                <c:pt idx="97">
                  <c:v>2</c:v>
                </c:pt>
                <c:pt idx="98">
                  <c:v>0</c:v>
                </c:pt>
                <c:pt idx="99">
                  <c:v>0</c:v>
                </c:pt>
                <c:pt idx="100">
                  <c:v>0</c:v>
                </c:pt>
                <c:pt idx="101">
                  <c:v>0</c:v>
                </c:pt>
                <c:pt idx="102">
                  <c:v>2</c:v>
                </c:pt>
                <c:pt idx="103">
                  <c:v>0</c:v>
                </c:pt>
                <c:pt idx="104">
                  <c:v>8</c:v>
                </c:pt>
                <c:pt idx="105">
                  <c:v>4</c:v>
                </c:pt>
                <c:pt idx="106">
                  <c:v>6</c:v>
                </c:pt>
                <c:pt idx="107">
                  <c:v>1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040</c:v>
                </c:pt>
                <c:pt idx="1">
                  <c:v>75441</c:v>
                </c:pt>
                <c:pt idx="2">
                  <c:v>77128</c:v>
                </c:pt>
                <c:pt idx="3">
                  <c:v>75990</c:v>
                </c:pt>
                <c:pt idx="4">
                  <c:v>79592</c:v>
                </c:pt>
                <c:pt idx="5">
                  <c:v>73840</c:v>
                </c:pt>
                <c:pt idx="6">
                  <c:v>68352</c:v>
                </c:pt>
                <c:pt idx="7">
                  <c:v>69768</c:v>
                </c:pt>
                <c:pt idx="8">
                  <c:v>74872</c:v>
                </c:pt>
                <c:pt idx="9">
                  <c:v>69492</c:v>
                </c:pt>
                <c:pt idx="10">
                  <c:v>69108</c:v>
                </c:pt>
                <c:pt idx="11">
                  <c:v>69464</c:v>
                </c:pt>
                <c:pt idx="12">
                  <c:v>66866</c:v>
                </c:pt>
                <c:pt idx="13">
                  <c:v>73960</c:v>
                </c:pt>
                <c:pt idx="14">
                  <c:v>65196</c:v>
                </c:pt>
                <c:pt idx="15">
                  <c:v>67123</c:v>
                </c:pt>
                <c:pt idx="16">
                  <c:v>66848</c:v>
                </c:pt>
                <c:pt idx="17">
                  <c:v>76094</c:v>
                </c:pt>
                <c:pt idx="18">
                  <c:v>72148</c:v>
                </c:pt>
                <c:pt idx="19">
                  <c:v>70406</c:v>
                </c:pt>
                <c:pt idx="20">
                  <c:v>76692</c:v>
                </c:pt>
                <c:pt idx="21">
                  <c:v>79728</c:v>
                </c:pt>
                <c:pt idx="22">
                  <c:v>79328</c:v>
                </c:pt>
                <c:pt idx="23">
                  <c:v>76816</c:v>
                </c:pt>
                <c:pt idx="24">
                  <c:v>75517</c:v>
                </c:pt>
                <c:pt idx="25">
                  <c:v>77314</c:v>
                </c:pt>
                <c:pt idx="26">
                  <c:v>79868</c:v>
                </c:pt>
                <c:pt idx="27">
                  <c:v>72572</c:v>
                </c:pt>
                <c:pt idx="28">
                  <c:v>71006</c:v>
                </c:pt>
                <c:pt idx="29">
                  <c:v>68600</c:v>
                </c:pt>
                <c:pt idx="30">
                  <c:v>74056</c:v>
                </c:pt>
                <c:pt idx="31">
                  <c:v>70148</c:v>
                </c:pt>
                <c:pt idx="32">
                  <c:v>70948</c:v>
                </c:pt>
                <c:pt idx="33">
                  <c:v>67140</c:v>
                </c:pt>
                <c:pt idx="34">
                  <c:v>66610</c:v>
                </c:pt>
                <c:pt idx="35">
                  <c:v>71300</c:v>
                </c:pt>
                <c:pt idx="36">
                  <c:v>72816</c:v>
                </c:pt>
                <c:pt idx="37">
                  <c:v>71236</c:v>
                </c:pt>
                <c:pt idx="38">
                  <c:v>68228</c:v>
                </c:pt>
                <c:pt idx="39">
                  <c:v>68516</c:v>
                </c:pt>
                <c:pt idx="40">
                  <c:v>58784</c:v>
                </c:pt>
                <c:pt idx="41">
                  <c:v>58120</c:v>
                </c:pt>
                <c:pt idx="42">
                  <c:v>58360</c:v>
                </c:pt>
                <c:pt idx="43">
                  <c:v>63144</c:v>
                </c:pt>
                <c:pt idx="44">
                  <c:v>69732</c:v>
                </c:pt>
                <c:pt idx="45">
                  <c:v>70148</c:v>
                </c:pt>
                <c:pt idx="46">
                  <c:v>65352</c:v>
                </c:pt>
                <c:pt idx="47">
                  <c:v>67778</c:v>
                </c:pt>
                <c:pt idx="48">
                  <c:v>71488</c:v>
                </c:pt>
                <c:pt idx="49">
                  <c:v>69588</c:v>
                </c:pt>
                <c:pt idx="50">
                  <c:v>73700</c:v>
                </c:pt>
                <c:pt idx="51">
                  <c:v>52066</c:v>
                </c:pt>
                <c:pt idx="52">
                  <c:v>61325</c:v>
                </c:pt>
                <c:pt idx="53">
                  <c:v>61836</c:v>
                </c:pt>
                <c:pt idx="54">
                  <c:v>67454</c:v>
                </c:pt>
                <c:pt idx="55">
                  <c:v>73676</c:v>
                </c:pt>
                <c:pt idx="56">
                  <c:v>65022</c:v>
                </c:pt>
                <c:pt idx="57">
                  <c:v>52405</c:v>
                </c:pt>
                <c:pt idx="58">
                  <c:v>45461</c:v>
                </c:pt>
                <c:pt idx="59">
                  <c:v>42749</c:v>
                </c:pt>
                <c:pt idx="60">
                  <c:v>41355</c:v>
                </c:pt>
                <c:pt idx="61">
                  <c:v>42039</c:v>
                </c:pt>
                <c:pt idx="62">
                  <c:v>48360</c:v>
                </c:pt>
                <c:pt idx="63">
                  <c:v>59745</c:v>
                </c:pt>
                <c:pt idx="64">
                  <c:v>59538</c:v>
                </c:pt>
                <c:pt idx="65">
                  <c:v>60468</c:v>
                </c:pt>
                <c:pt idx="66">
                  <c:v>59251</c:v>
                </c:pt>
                <c:pt idx="67">
                  <c:v>57589</c:v>
                </c:pt>
                <c:pt idx="68">
                  <c:v>57841</c:v>
                </c:pt>
                <c:pt idx="69">
                  <c:v>60307</c:v>
                </c:pt>
                <c:pt idx="70">
                  <c:v>59512</c:v>
                </c:pt>
                <c:pt idx="71">
                  <c:v>56718</c:v>
                </c:pt>
                <c:pt idx="72">
                  <c:v>67465</c:v>
                </c:pt>
                <c:pt idx="73">
                  <c:v>71356</c:v>
                </c:pt>
                <c:pt idx="74">
                  <c:v>75809</c:v>
                </c:pt>
                <c:pt idx="75">
                  <c:v>72235</c:v>
                </c:pt>
                <c:pt idx="76">
                  <c:v>70456</c:v>
                </c:pt>
                <c:pt idx="77">
                  <c:v>70886</c:v>
                </c:pt>
                <c:pt idx="78">
                  <c:v>78431</c:v>
                </c:pt>
                <c:pt idx="79">
                  <c:v>63776</c:v>
                </c:pt>
                <c:pt idx="80">
                  <c:v>60217</c:v>
                </c:pt>
                <c:pt idx="81">
                  <c:v>57018</c:v>
                </c:pt>
                <c:pt idx="82">
                  <c:v>61616</c:v>
                </c:pt>
                <c:pt idx="83">
                  <c:v>69698</c:v>
                </c:pt>
                <c:pt idx="84">
                  <c:v>68886</c:v>
                </c:pt>
                <c:pt idx="85">
                  <c:v>71557</c:v>
                </c:pt>
                <c:pt idx="86">
                  <c:v>68633</c:v>
                </c:pt>
                <c:pt idx="87">
                  <c:v>72654</c:v>
                </c:pt>
                <c:pt idx="88">
                  <c:v>67723</c:v>
                </c:pt>
                <c:pt idx="89">
                  <c:v>68278</c:v>
                </c:pt>
                <c:pt idx="90">
                  <c:v>63458</c:v>
                </c:pt>
                <c:pt idx="91">
                  <c:v>70289</c:v>
                </c:pt>
                <c:pt idx="92">
                  <c:v>56060</c:v>
                </c:pt>
                <c:pt idx="93">
                  <c:v>54396</c:v>
                </c:pt>
                <c:pt idx="94">
                  <c:v>61018</c:v>
                </c:pt>
                <c:pt idx="95">
                  <c:v>68521</c:v>
                </c:pt>
                <c:pt idx="96">
                  <c:v>72873</c:v>
                </c:pt>
                <c:pt idx="97">
                  <c:v>50650</c:v>
                </c:pt>
                <c:pt idx="98">
                  <c:v>1952</c:v>
                </c:pt>
                <c:pt idx="99">
                  <c:v>1316</c:v>
                </c:pt>
                <c:pt idx="100">
                  <c:v>1709</c:v>
                </c:pt>
                <c:pt idx="101">
                  <c:v>1010</c:v>
                </c:pt>
                <c:pt idx="102">
                  <c:v>653</c:v>
                </c:pt>
                <c:pt idx="103">
                  <c:v>722</c:v>
                </c:pt>
                <c:pt idx="104">
                  <c:v>1119</c:v>
                </c:pt>
                <c:pt idx="105">
                  <c:v>2109</c:v>
                </c:pt>
                <c:pt idx="106">
                  <c:v>3706</c:v>
                </c:pt>
                <c:pt idx="107">
                  <c:v>5032</c:v>
                </c:pt>
              </c:numCache>
            </c:numRef>
          </c:val>
          <c:extLst>
            <c:ext xmlns:c16="http://schemas.microsoft.com/office/drawing/2014/chart" uri="{C3380CC4-5D6E-409C-BE32-E72D297353CC}">
              <c16:uniqueId val="{00000000-0F35-47AC-8F76-BEFC330A665E}"/>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5068</c:v>
                </c:pt>
                <c:pt idx="1">
                  <c:v>7080</c:v>
                </c:pt>
                <c:pt idx="2">
                  <c:v>5360</c:v>
                </c:pt>
                <c:pt idx="3">
                  <c:v>3184</c:v>
                </c:pt>
                <c:pt idx="4">
                  <c:v>1772</c:v>
                </c:pt>
                <c:pt idx="5">
                  <c:v>9686</c:v>
                </c:pt>
                <c:pt idx="6">
                  <c:v>11864</c:v>
                </c:pt>
                <c:pt idx="7">
                  <c:v>13398</c:v>
                </c:pt>
                <c:pt idx="8">
                  <c:v>9822</c:v>
                </c:pt>
                <c:pt idx="9">
                  <c:v>9538</c:v>
                </c:pt>
                <c:pt idx="10">
                  <c:v>10216</c:v>
                </c:pt>
                <c:pt idx="11">
                  <c:v>9278</c:v>
                </c:pt>
                <c:pt idx="12">
                  <c:v>8436</c:v>
                </c:pt>
                <c:pt idx="13">
                  <c:v>8576</c:v>
                </c:pt>
                <c:pt idx="14">
                  <c:v>8312</c:v>
                </c:pt>
                <c:pt idx="15">
                  <c:v>10352</c:v>
                </c:pt>
                <c:pt idx="16">
                  <c:v>7440</c:v>
                </c:pt>
                <c:pt idx="17">
                  <c:v>1898</c:v>
                </c:pt>
                <c:pt idx="18">
                  <c:v>204</c:v>
                </c:pt>
                <c:pt idx="19">
                  <c:v>206</c:v>
                </c:pt>
                <c:pt idx="20">
                  <c:v>274</c:v>
                </c:pt>
                <c:pt idx="21">
                  <c:v>248</c:v>
                </c:pt>
                <c:pt idx="22">
                  <c:v>230</c:v>
                </c:pt>
                <c:pt idx="23">
                  <c:v>552</c:v>
                </c:pt>
                <c:pt idx="24">
                  <c:v>336</c:v>
                </c:pt>
                <c:pt idx="25">
                  <c:v>236</c:v>
                </c:pt>
                <c:pt idx="26">
                  <c:v>194</c:v>
                </c:pt>
                <c:pt idx="27">
                  <c:v>6204</c:v>
                </c:pt>
                <c:pt idx="28">
                  <c:v>13897</c:v>
                </c:pt>
                <c:pt idx="29">
                  <c:v>12236</c:v>
                </c:pt>
                <c:pt idx="30">
                  <c:v>12294</c:v>
                </c:pt>
                <c:pt idx="31">
                  <c:v>11046</c:v>
                </c:pt>
                <c:pt idx="32">
                  <c:v>10516</c:v>
                </c:pt>
                <c:pt idx="33">
                  <c:v>11488</c:v>
                </c:pt>
                <c:pt idx="34">
                  <c:v>13370</c:v>
                </c:pt>
                <c:pt idx="35">
                  <c:v>5534</c:v>
                </c:pt>
                <c:pt idx="36">
                  <c:v>492</c:v>
                </c:pt>
                <c:pt idx="37">
                  <c:v>190</c:v>
                </c:pt>
                <c:pt idx="38">
                  <c:v>4900</c:v>
                </c:pt>
                <c:pt idx="39">
                  <c:v>8236</c:v>
                </c:pt>
                <c:pt idx="40">
                  <c:v>12080</c:v>
                </c:pt>
                <c:pt idx="41">
                  <c:v>14438</c:v>
                </c:pt>
                <c:pt idx="42">
                  <c:v>12948</c:v>
                </c:pt>
                <c:pt idx="43">
                  <c:v>9554</c:v>
                </c:pt>
                <c:pt idx="44">
                  <c:v>760</c:v>
                </c:pt>
                <c:pt idx="45">
                  <c:v>80</c:v>
                </c:pt>
                <c:pt idx="46">
                  <c:v>244</c:v>
                </c:pt>
                <c:pt idx="47">
                  <c:v>286</c:v>
                </c:pt>
                <c:pt idx="48">
                  <c:v>358</c:v>
                </c:pt>
                <c:pt idx="49">
                  <c:v>10538</c:v>
                </c:pt>
                <c:pt idx="50">
                  <c:v>12990</c:v>
                </c:pt>
                <c:pt idx="51">
                  <c:v>6844</c:v>
                </c:pt>
                <c:pt idx="52">
                  <c:v>5094</c:v>
                </c:pt>
                <c:pt idx="53">
                  <c:v>19490</c:v>
                </c:pt>
                <c:pt idx="54">
                  <c:v>15392</c:v>
                </c:pt>
                <c:pt idx="55">
                  <c:v>9230</c:v>
                </c:pt>
                <c:pt idx="56">
                  <c:v>19870</c:v>
                </c:pt>
                <c:pt idx="57">
                  <c:v>33249</c:v>
                </c:pt>
                <c:pt idx="58">
                  <c:v>34096</c:v>
                </c:pt>
                <c:pt idx="59">
                  <c:v>48432</c:v>
                </c:pt>
                <c:pt idx="60">
                  <c:v>45761</c:v>
                </c:pt>
                <c:pt idx="61">
                  <c:v>42439</c:v>
                </c:pt>
                <c:pt idx="62">
                  <c:v>31863</c:v>
                </c:pt>
                <c:pt idx="63">
                  <c:v>18267</c:v>
                </c:pt>
                <c:pt idx="64">
                  <c:v>17488</c:v>
                </c:pt>
                <c:pt idx="65">
                  <c:v>18096</c:v>
                </c:pt>
                <c:pt idx="66">
                  <c:v>16468</c:v>
                </c:pt>
                <c:pt idx="67">
                  <c:v>14994</c:v>
                </c:pt>
                <c:pt idx="68">
                  <c:v>13724</c:v>
                </c:pt>
                <c:pt idx="69">
                  <c:v>15042</c:v>
                </c:pt>
                <c:pt idx="70">
                  <c:v>14436</c:v>
                </c:pt>
                <c:pt idx="71">
                  <c:v>13341</c:v>
                </c:pt>
                <c:pt idx="72">
                  <c:v>6848</c:v>
                </c:pt>
                <c:pt idx="73">
                  <c:v>242</c:v>
                </c:pt>
                <c:pt idx="74">
                  <c:v>138</c:v>
                </c:pt>
                <c:pt idx="75">
                  <c:v>292</c:v>
                </c:pt>
                <c:pt idx="76">
                  <c:v>628</c:v>
                </c:pt>
                <c:pt idx="77">
                  <c:v>188</c:v>
                </c:pt>
                <c:pt idx="78">
                  <c:v>318</c:v>
                </c:pt>
                <c:pt idx="79">
                  <c:v>8783</c:v>
                </c:pt>
                <c:pt idx="80">
                  <c:v>15730</c:v>
                </c:pt>
                <c:pt idx="81">
                  <c:v>16229</c:v>
                </c:pt>
                <c:pt idx="82">
                  <c:v>14848</c:v>
                </c:pt>
                <c:pt idx="83">
                  <c:v>4515</c:v>
                </c:pt>
                <c:pt idx="84">
                  <c:v>3685</c:v>
                </c:pt>
                <c:pt idx="85">
                  <c:v>114</c:v>
                </c:pt>
                <c:pt idx="86">
                  <c:v>2486</c:v>
                </c:pt>
                <c:pt idx="87">
                  <c:v>204</c:v>
                </c:pt>
                <c:pt idx="88">
                  <c:v>264</c:v>
                </c:pt>
                <c:pt idx="89">
                  <c:v>144</c:v>
                </c:pt>
                <c:pt idx="90">
                  <c:v>4492</c:v>
                </c:pt>
                <c:pt idx="91">
                  <c:v>9565</c:v>
                </c:pt>
                <c:pt idx="92">
                  <c:v>16675</c:v>
                </c:pt>
                <c:pt idx="93">
                  <c:v>19489</c:v>
                </c:pt>
                <c:pt idx="94">
                  <c:v>9241</c:v>
                </c:pt>
                <c:pt idx="95">
                  <c:v>177</c:v>
                </c:pt>
                <c:pt idx="96">
                  <c:v>192</c:v>
                </c:pt>
                <c:pt idx="97">
                  <c:v>23587</c:v>
                </c:pt>
                <c:pt idx="98">
                  <c:v>73824</c:v>
                </c:pt>
                <c:pt idx="99">
                  <c:v>71232</c:v>
                </c:pt>
                <c:pt idx="100">
                  <c:v>78714</c:v>
                </c:pt>
                <c:pt idx="101">
                  <c:v>80685</c:v>
                </c:pt>
                <c:pt idx="102">
                  <c:v>88038</c:v>
                </c:pt>
                <c:pt idx="103">
                  <c:v>74659</c:v>
                </c:pt>
                <c:pt idx="104">
                  <c:v>78201</c:v>
                </c:pt>
                <c:pt idx="105">
                  <c:v>71779</c:v>
                </c:pt>
                <c:pt idx="106">
                  <c:v>70991</c:v>
                </c:pt>
                <c:pt idx="107">
                  <c:v>63540</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0952</c:v>
                </c:pt>
                <c:pt idx="1">
                  <c:v>74944</c:v>
                </c:pt>
                <c:pt idx="2">
                  <c:v>76800</c:v>
                </c:pt>
                <c:pt idx="3">
                  <c:v>75533</c:v>
                </c:pt>
                <c:pt idx="4">
                  <c:v>79108</c:v>
                </c:pt>
                <c:pt idx="5">
                  <c:v>73192</c:v>
                </c:pt>
                <c:pt idx="6">
                  <c:v>67752</c:v>
                </c:pt>
                <c:pt idx="7">
                  <c:v>69044</c:v>
                </c:pt>
                <c:pt idx="8">
                  <c:v>74020</c:v>
                </c:pt>
                <c:pt idx="9">
                  <c:v>68652</c:v>
                </c:pt>
                <c:pt idx="10">
                  <c:v>68348</c:v>
                </c:pt>
                <c:pt idx="11">
                  <c:v>68692</c:v>
                </c:pt>
                <c:pt idx="12">
                  <c:v>66058</c:v>
                </c:pt>
                <c:pt idx="13">
                  <c:v>73012</c:v>
                </c:pt>
                <c:pt idx="14">
                  <c:v>64088</c:v>
                </c:pt>
                <c:pt idx="15">
                  <c:v>66136</c:v>
                </c:pt>
                <c:pt idx="16">
                  <c:v>65744</c:v>
                </c:pt>
                <c:pt idx="17">
                  <c:v>74994</c:v>
                </c:pt>
                <c:pt idx="18">
                  <c:v>71112</c:v>
                </c:pt>
                <c:pt idx="19">
                  <c:v>69476</c:v>
                </c:pt>
                <c:pt idx="20">
                  <c:v>75600</c:v>
                </c:pt>
                <c:pt idx="21">
                  <c:v>78572</c:v>
                </c:pt>
                <c:pt idx="22">
                  <c:v>78108</c:v>
                </c:pt>
                <c:pt idx="23">
                  <c:v>75656</c:v>
                </c:pt>
                <c:pt idx="24">
                  <c:v>74253</c:v>
                </c:pt>
                <c:pt idx="25">
                  <c:v>76102</c:v>
                </c:pt>
                <c:pt idx="26">
                  <c:v>78656</c:v>
                </c:pt>
                <c:pt idx="27">
                  <c:v>71284</c:v>
                </c:pt>
                <c:pt idx="28">
                  <c:v>69678</c:v>
                </c:pt>
                <c:pt idx="29">
                  <c:v>67276</c:v>
                </c:pt>
                <c:pt idx="30">
                  <c:v>72632</c:v>
                </c:pt>
                <c:pt idx="31">
                  <c:v>68788</c:v>
                </c:pt>
                <c:pt idx="32">
                  <c:v>69432</c:v>
                </c:pt>
                <c:pt idx="33">
                  <c:v>65708</c:v>
                </c:pt>
                <c:pt idx="34">
                  <c:v>65246</c:v>
                </c:pt>
                <c:pt idx="35">
                  <c:v>69960</c:v>
                </c:pt>
                <c:pt idx="36">
                  <c:v>71288</c:v>
                </c:pt>
                <c:pt idx="37">
                  <c:v>69872</c:v>
                </c:pt>
                <c:pt idx="38">
                  <c:v>66880</c:v>
                </c:pt>
                <c:pt idx="39">
                  <c:v>67056</c:v>
                </c:pt>
                <c:pt idx="40">
                  <c:v>57280</c:v>
                </c:pt>
                <c:pt idx="41">
                  <c:v>56612</c:v>
                </c:pt>
                <c:pt idx="42">
                  <c:v>57004</c:v>
                </c:pt>
                <c:pt idx="43">
                  <c:v>61560</c:v>
                </c:pt>
                <c:pt idx="44">
                  <c:v>68164</c:v>
                </c:pt>
                <c:pt idx="45">
                  <c:v>68596</c:v>
                </c:pt>
                <c:pt idx="46">
                  <c:v>63956</c:v>
                </c:pt>
                <c:pt idx="47">
                  <c:v>66326</c:v>
                </c:pt>
                <c:pt idx="48">
                  <c:v>69996</c:v>
                </c:pt>
                <c:pt idx="49">
                  <c:v>68688</c:v>
                </c:pt>
                <c:pt idx="50">
                  <c:v>73080</c:v>
                </c:pt>
                <c:pt idx="51">
                  <c:v>51686</c:v>
                </c:pt>
                <c:pt idx="52">
                  <c:v>61077</c:v>
                </c:pt>
                <c:pt idx="53">
                  <c:v>61244</c:v>
                </c:pt>
                <c:pt idx="54">
                  <c:v>67110</c:v>
                </c:pt>
                <c:pt idx="55">
                  <c:v>73532</c:v>
                </c:pt>
                <c:pt idx="56">
                  <c:v>64790</c:v>
                </c:pt>
                <c:pt idx="57">
                  <c:v>52337</c:v>
                </c:pt>
                <c:pt idx="58">
                  <c:v>45317</c:v>
                </c:pt>
                <c:pt idx="59">
                  <c:v>42597</c:v>
                </c:pt>
                <c:pt idx="60">
                  <c:v>41163</c:v>
                </c:pt>
                <c:pt idx="61">
                  <c:v>41867</c:v>
                </c:pt>
                <c:pt idx="62">
                  <c:v>48164</c:v>
                </c:pt>
                <c:pt idx="63">
                  <c:v>59661</c:v>
                </c:pt>
                <c:pt idx="64">
                  <c:v>59362</c:v>
                </c:pt>
                <c:pt idx="65">
                  <c:v>60412</c:v>
                </c:pt>
                <c:pt idx="66">
                  <c:v>59039</c:v>
                </c:pt>
                <c:pt idx="67">
                  <c:v>57405</c:v>
                </c:pt>
                <c:pt idx="68">
                  <c:v>57681</c:v>
                </c:pt>
                <c:pt idx="69">
                  <c:v>60189</c:v>
                </c:pt>
                <c:pt idx="70">
                  <c:v>59376</c:v>
                </c:pt>
                <c:pt idx="71">
                  <c:v>56686</c:v>
                </c:pt>
                <c:pt idx="72">
                  <c:v>67369</c:v>
                </c:pt>
                <c:pt idx="73">
                  <c:v>71312</c:v>
                </c:pt>
                <c:pt idx="74">
                  <c:v>75749</c:v>
                </c:pt>
                <c:pt idx="75">
                  <c:v>72187</c:v>
                </c:pt>
                <c:pt idx="76">
                  <c:v>70428</c:v>
                </c:pt>
                <c:pt idx="77">
                  <c:v>70854</c:v>
                </c:pt>
                <c:pt idx="78">
                  <c:v>78307</c:v>
                </c:pt>
                <c:pt idx="79">
                  <c:v>63764</c:v>
                </c:pt>
                <c:pt idx="80">
                  <c:v>60201</c:v>
                </c:pt>
                <c:pt idx="81">
                  <c:v>57002</c:v>
                </c:pt>
                <c:pt idx="82">
                  <c:v>61604</c:v>
                </c:pt>
                <c:pt idx="83">
                  <c:v>69678</c:v>
                </c:pt>
                <c:pt idx="84">
                  <c:v>68878</c:v>
                </c:pt>
                <c:pt idx="85">
                  <c:v>71529</c:v>
                </c:pt>
                <c:pt idx="86">
                  <c:v>68625</c:v>
                </c:pt>
                <c:pt idx="87">
                  <c:v>72610</c:v>
                </c:pt>
                <c:pt idx="88">
                  <c:v>67703</c:v>
                </c:pt>
                <c:pt idx="89">
                  <c:v>68266</c:v>
                </c:pt>
                <c:pt idx="90">
                  <c:v>63450</c:v>
                </c:pt>
                <c:pt idx="91">
                  <c:v>70285</c:v>
                </c:pt>
                <c:pt idx="92">
                  <c:v>56060</c:v>
                </c:pt>
                <c:pt idx="93">
                  <c:v>54380</c:v>
                </c:pt>
                <c:pt idx="94">
                  <c:v>61014</c:v>
                </c:pt>
                <c:pt idx="95">
                  <c:v>68517</c:v>
                </c:pt>
                <c:pt idx="96">
                  <c:v>72869</c:v>
                </c:pt>
                <c:pt idx="97">
                  <c:v>50626</c:v>
                </c:pt>
                <c:pt idx="98">
                  <c:v>1844</c:v>
                </c:pt>
                <c:pt idx="99">
                  <c:v>1312</c:v>
                </c:pt>
                <c:pt idx="100">
                  <c:v>1609</c:v>
                </c:pt>
                <c:pt idx="101">
                  <c:v>978</c:v>
                </c:pt>
                <c:pt idx="102">
                  <c:v>645</c:v>
                </c:pt>
                <c:pt idx="103">
                  <c:v>698</c:v>
                </c:pt>
                <c:pt idx="104">
                  <c:v>1083</c:v>
                </c:pt>
                <c:pt idx="105">
                  <c:v>2025</c:v>
                </c:pt>
                <c:pt idx="106">
                  <c:v>3294</c:v>
                </c:pt>
                <c:pt idx="107">
                  <c:v>4284</c:v>
                </c:pt>
              </c:numCache>
            </c:numRef>
          </c:val>
          <c:extLst>
            <c:ext xmlns:c16="http://schemas.microsoft.com/office/drawing/2014/chart" uri="{C3380CC4-5D6E-409C-BE32-E72D297353CC}">
              <c16:uniqueId val="{00000000-F61D-48BC-8F2C-2427BC9DB9F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5044</c:v>
                </c:pt>
                <c:pt idx="1">
                  <c:v>7080</c:v>
                </c:pt>
                <c:pt idx="2">
                  <c:v>5360</c:v>
                </c:pt>
                <c:pt idx="3">
                  <c:v>3180</c:v>
                </c:pt>
                <c:pt idx="4">
                  <c:v>1772</c:v>
                </c:pt>
                <c:pt idx="5">
                  <c:v>9654</c:v>
                </c:pt>
                <c:pt idx="6">
                  <c:v>11772</c:v>
                </c:pt>
                <c:pt idx="7">
                  <c:v>13294</c:v>
                </c:pt>
                <c:pt idx="8">
                  <c:v>9778</c:v>
                </c:pt>
                <c:pt idx="9">
                  <c:v>9470</c:v>
                </c:pt>
                <c:pt idx="10">
                  <c:v>10120</c:v>
                </c:pt>
                <c:pt idx="11">
                  <c:v>9198</c:v>
                </c:pt>
                <c:pt idx="12">
                  <c:v>8348</c:v>
                </c:pt>
                <c:pt idx="13">
                  <c:v>8484</c:v>
                </c:pt>
                <c:pt idx="14">
                  <c:v>8248</c:v>
                </c:pt>
                <c:pt idx="15">
                  <c:v>10272</c:v>
                </c:pt>
                <c:pt idx="16">
                  <c:v>7372</c:v>
                </c:pt>
                <c:pt idx="17">
                  <c:v>1790</c:v>
                </c:pt>
                <c:pt idx="18">
                  <c:v>120</c:v>
                </c:pt>
                <c:pt idx="19">
                  <c:v>134</c:v>
                </c:pt>
                <c:pt idx="20">
                  <c:v>142</c:v>
                </c:pt>
                <c:pt idx="21">
                  <c:v>180</c:v>
                </c:pt>
                <c:pt idx="22">
                  <c:v>98</c:v>
                </c:pt>
                <c:pt idx="23">
                  <c:v>172</c:v>
                </c:pt>
                <c:pt idx="24">
                  <c:v>264</c:v>
                </c:pt>
                <c:pt idx="25">
                  <c:v>116</c:v>
                </c:pt>
                <c:pt idx="26">
                  <c:v>34</c:v>
                </c:pt>
                <c:pt idx="27">
                  <c:v>6128</c:v>
                </c:pt>
                <c:pt idx="28">
                  <c:v>13801</c:v>
                </c:pt>
                <c:pt idx="29">
                  <c:v>12144</c:v>
                </c:pt>
                <c:pt idx="30">
                  <c:v>12238</c:v>
                </c:pt>
                <c:pt idx="31">
                  <c:v>10950</c:v>
                </c:pt>
                <c:pt idx="32">
                  <c:v>10412</c:v>
                </c:pt>
                <c:pt idx="33">
                  <c:v>11448</c:v>
                </c:pt>
                <c:pt idx="34">
                  <c:v>13322</c:v>
                </c:pt>
                <c:pt idx="35">
                  <c:v>5490</c:v>
                </c:pt>
                <c:pt idx="36">
                  <c:v>388</c:v>
                </c:pt>
                <c:pt idx="37">
                  <c:v>114</c:v>
                </c:pt>
                <c:pt idx="38">
                  <c:v>4820</c:v>
                </c:pt>
                <c:pt idx="39">
                  <c:v>8124</c:v>
                </c:pt>
                <c:pt idx="40">
                  <c:v>11984</c:v>
                </c:pt>
                <c:pt idx="41">
                  <c:v>14358</c:v>
                </c:pt>
                <c:pt idx="42">
                  <c:v>12856</c:v>
                </c:pt>
                <c:pt idx="43">
                  <c:v>9542</c:v>
                </c:pt>
                <c:pt idx="44">
                  <c:v>760</c:v>
                </c:pt>
                <c:pt idx="45">
                  <c:v>52</c:v>
                </c:pt>
                <c:pt idx="46">
                  <c:v>244</c:v>
                </c:pt>
                <c:pt idx="47">
                  <c:v>286</c:v>
                </c:pt>
                <c:pt idx="48">
                  <c:v>358</c:v>
                </c:pt>
                <c:pt idx="49">
                  <c:v>9742</c:v>
                </c:pt>
                <c:pt idx="50">
                  <c:v>11346</c:v>
                </c:pt>
                <c:pt idx="51">
                  <c:v>5636</c:v>
                </c:pt>
                <c:pt idx="52">
                  <c:v>4046</c:v>
                </c:pt>
                <c:pt idx="53">
                  <c:v>14278</c:v>
                </c:pt>
                <c:pt idx="54">
                  <c:v>10192</c:v>
                </c:pt>
                <c:pt idx="55">
                  <c:v>4922</c:v>
                </c:pt>
                <c:pt idx="56">
                  <c:v>17790</c:v>
                </c:pt>
                <c:pt idx="57">
                  <c:v>31969</c:v>
                </c:pt>
                <c:pt idx="58">
                  <c:v>33400</c:v>
                </c:pt>
                <c:pt idx="59">
                  <c:v>47776</c:v>
                </c:pt>
                <c:pt idx="60">
                  <c:v>45265</c:v>
                </c:pt>
                <c:pt idx="61">
                  <c:v>42307</c:v>
                </c:pt>
                <c:pt idx="62">
                  <c:v>31719</c:v>
                </c:pt>
                <c:pt idx="63">
                  <c:v>18059</c:v>
                </c:pt>
                <c:pt idx="64">
                  <c:v>17388</c:v>
                </c:pt>
                <c:pt idx="65">
                  <c:v>18084</c:v>
                </c:pt>
                <c:pt idx="66">
                  <c:v>16440</c:v>
                </c:pt>
                <c:pt idx="67">
                  <c:v>14974</c:v>
                </c:pt>
                <c:pt idx="68">
                  <c:v>13672</c:v>
                </c:pt>
                <c:pt idx="69">
                  <c:v>15030</c:v>
                </c:pt>
                <c:pt idx="70">
                  <c:v>14432</c:v>
                </c:pt>
                <c:pt idx="71">
                  <c:v>13321</c:v>
                </c:pt>
                <c:pt idx="72">
                  <c:v>6760</c:v>
                </c:pt>
                <c:pt idx="73">
                  <c:v>242</c:v>
                </c:pt>
                <c:pt idx="74">
                  <c:v>138</c:v>
                </c:pt>
                <c:pt idx="75">
                  <c:v>232</c:v>
                </c:pt>
                <c:pt idx="76">
                  <c:v>620</c:v>
                </c:pt>
                <c:pt idx="77">
                  <c:v>176</c:v>
                </c:pt>
                <c:pt idx="78">
                  <c:v>270</c:v>
                </c:pt>
                <c:pt idx="79">
                  <c:v>8723</c:v>
                </c:pt>
                <c:pt idx="80">
                  <c:v>15670</c:v>
                </c:pt>
                <c:pt idx="81">
                  <c:v>16121</c:v>
                </c:pt>
                <c:pt idx="82">
                  <c:v>14844</c:v>
                </c:pt>
                <c:pt idx="83">
                  <c:v>4507</c:v>
                </c:pt>
                <c:pt idx="84">
                  <c:v>3685</c:v>
                </c:pt>
                <c:pt idx="85">
                  <c:v>114</c:v>
                </c:pt>
                <c:pt idx="86">
                  <c:v>2486</c:v>
                </c:pt>
                <c:pt idx="87">
                  <c:v>204</c:v>
                </c:pt>
                <c:pt idx="88">
                  <c:v>264</c:v>
                </c:pt>
                <c:pt idx="89">
                  <c:v>144</c:v>
                </c:pt>
                <c:pt idx="90">
                  <c:v>4476</c:v>
                </c:pt>
                <c:pt idx="91">
                  <c:v>9565</c:v>
                </c:pt>
                <c:pt idx="92">
                  <c:v>16667</c:v>
                </c:pt>
                <c:pt idx="93">
                  <c:v>19485</c:v>
                </c:pt>
                <c:pt idx="94">
                  <c:v>9229</c:v>
                </c:pt>
                <c:pt idx="95">
                  <c:v>177</c:v>
                </c:pt>
                <c:pt idx="96">
                  <c:v>184</c:v>
                </c:pt>
                <c:pt idx="97">
                  <c:v>23587</c:v>
                </c:pt>
                <c:pt idx="98">
                  <c:v>73824</c:v>
                </c:pt>
                <c:pt idx="99">
                  <c:v>71232</c:v>
                </c:pt>
                <c:pt idx="100">
                  <c:v>78714</c:v>
                </c:pt>
                <c:pt idx="101">
                  <c:v>80577</c:v>
                </c:pt>
                <c:pt idx="102">
                  <c:v>88030</c:v>
                </c:pt>
                <c:pt idx="103">
                  <c:v>74659</c:v>
                </c:pt>
                <c:pt idx="104">
                  <c:v>78201</c:v>
                </c:pt>
                <c:pt idx="105">
                  <c:v>71779</c:v>
                </c:pt>
                <c:pt idx="106">
                  <c:v>70983</c:v>
                </c:pt>
                <c:pt idx="107">
                  <c:v>63540</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7044</c:v>
                </c:pt>
                <c:pt idx="1">
                  <c:v>45392</c:v>
                </c:pt>
                <c:pt idx="2">
                  <c:v>49152</c:v>
                </c:pt>
                <c:pt idx="3">
                  <c:v>49408</c:v>
                </c:pt>
                <c:pt idx="4">
                  <c:v>52032</c:v>
                </c:pt>
                <c:pt idx="5">
                  <c:v>51740</c:v>
                </c:pt>
                <c:pt idx="6">
                  <c:v>48220</c:v>
                </c:pt>
                <c:pt idx="7">
                  <c:v>49880</c:v>
                </c:pt>
                <c:pt idx="8">
                  <c:v>48840</c:v>
                </c:pt>
                <c:pt idx="9">
                  <c:v>45534</c:v>
                </c:pt>
                <c:pt idx="10">
                  <c:v>37284</c:v>
                </c:pt>
                <c:pt idx="11">
                  <c:v>32204</c:v>
                </c:pt>
                <c:pt idx="12">
                  <c:v>26880</c:v>
                </c:pt>
                <c:pt idx="13">
                  <c:v>23978</c:v>
                </c:pt>
                <c:pt idx="14">
                  <c:v>17984</c:v>
                </c:pt>
                <c:pt idx="15">
                  <c:v>38336</c:v>
                </c:pt>
                <c:pt idx="16">
                  <c:v>55360</c:v>
                </c:pt>
                <c:pt idx="17">
                  <c:v>62004</c:v>
                </c:pt>
                <c:pt idx="18">
                  <c:v>59160</c:v>
                </c:pt>
                <c:pt idx="19">
                  <c:v>58500</c:v>
                </c:pt>
                <c:pt idx="20">
                  <c:v>61444</c:v>
                </c:pt>
                <c:pt idx="21">
                  <c:v>65202</c:v>
                </c:pt>
                <c:pt idx="22">
                  <c:v>65224</c:v>
                </c:pt>
                <c:pt idx="23">
                  <c:v>63740</c:v>
                </c:pt>
                <c:pt idx="24">
                  <c:v>62261</c:v>
                </c:pt>
                <c:pt idx="25">
                  <c:v>65245</c:v>
                </c:pt>
                <c:pt idx="26">
                  <c:v>67432</c:v>
                </c:pt>
                <c:pt idx="27">
                  <c:v>67184</c:v>
                </c:pt>
                <c:pt idx="28">
                  <c:v>66436</c:v>
                </c:pt>
                <c:pt idx="29">
                  <c:v>65828</c:v>
                </c:pt>
                <c:pt idx="30">
                  <c:v>72134</c:v>
                </c:pt>
                <c:pt idx="31">
                  <c:v>68664</c:v>
                </c:pt>
                <c:pt idx="32">
                  <c:v>68064</c:v>
                </c:pt>
                <c:pt idx="33">
                  <c:v>66636</c:v>
                </c:pt>
                <c:pt idx="34">
                  <c:v>68864</c:v>
                </c:pt>
                <c:pt idx="35">
                  <c:v>67416</c:v>
                </c:pt>
                <c:pt idx="36">
                  <c:v>62848</c:v>
                </c:pt>
                <c:pt idx="37">
                  <c:v>63992</c:v>
                </c:pt>
                <c:pt idx="38">
                  <c:v>64188</c:v>
                </c:pt>
                <c:pt idx="39">
                  <c:v>67312</c:v>
                </c:pt>
                <c:pt idx="40">
                  <c:v>64256</c:v>
                </c:pt>
                <c:pt idx="41">
                  <c:v>63696</c:v>
                </c:pt>
                <c:pt idx="42">
                  <c:v>63812</c:v>
                </c:pt>
                <c:pt idx="43">
                  <c:v>66832</c:v>
                </c:pt>
                <c:pt idx="44">
                  <c:v>68404</c:v>
                </c:pt>
                <c:pt idx="45">
                  <c:v>64552</c:v>
                </c:pt>
                <c:pt idx="46">
                  <c:v>61536</c:v>
                </c:pt>
                <c:pt idx="47">
                  <c:v>67700</c:v>
                </c:pt>
                <c:pt idx="48">
                  <c:v>70100</c:v>
                </c:pt>
                <c:pt idx="49">
                  <c:v>68444</c:v>
                </c:pt>
                <c:pt idx="50">
                  <c:v>78316</c:v>
                </c:pt>
                <c:pt idx="51">
                  <c:v>59572</c:v>
                </c:pt>
                <c:pt idx="52">
                  <c:v>68840</c:v>
                </c:pt>
                <c:pt idx="53">
                  <c:v>65060</c:v>
                </c:pt>
                <c:pt idx="54">
                  <c:v>60848</c:v>
                </c:pt>
                <c:pt idx="55">
                  <c:v>62776</c:v>
                </c:pt>
                <c:pt idx="56">
                  <c:v>64468</c:v>
                </c:pt>
                <c:pt idx="57">
                  <c:v>65384</c:v>
                </c:pt>
                <c:pt idx="58">
                  <c:v>62048</c:v>
                </c:pt>
                <c:pt idx="59">
                  <c:v>65412</c:v>
                </c:pt>
                <c:pt idx="60">
                  <c:v>68872</c:v>
                </c:pt>
                <c:pt idx="61">
                  <c:v>69220</c:v>
                </c:pt>
                <c:pt idx="62">
                  <c:v>66128</c:v>
                </c:pt>
                <c:pt idx="63">
                  <c:v>62624</c:v>
                </c:pt>
                <c:pt idx="64">
                  <c:v>64564</c:v>
                </c:pt>
                <c:pt idx="65">
                  <c:v>67532</c:v>
                </c:pt>
                <c:pt idx="66">
                  <c:v>67361</c:v>
                </c:pt>
                <c:pt idx="67">
                  <c:v>67176</c:v>
                </c:pt>
                <c:pt idx="68">
                  <c:v>65180</c:v>
                </c:pt>
                <c:pt idx="69">
                  <c:v>69760</c:v>
                </c:pt>
                <c:pt idx="70">
                  <c:v>68018</c:v>
                </c:pt>
                <c:pt idx="71">
                  <c:v>62964</c:v>
                </c:pt>
                <c:pt idx="72">
                  <c:v>67404</c:v>
                </c:pt>
                <c:pt idx="73">
                  <c:v>65228</c:v>
                </c:pt>
                <c:pt idx="74">
                  <c:v>72592</c:v>
                </c:pt>
                <c:pt idx="75">
                  <c:v>67340</c:v>
                </c:pt>
                <c:pt idx="76">
                  <c:v>67928</c:v>
                </c:pt>
                <c:pt idx="77">
                  <c:v>68172</c:v>
                </c:pt>
                <c:pt idx="78">
                  <c:v>74280</c:v>
                </c:pt>
                <c:pt idx="79">
                  <c:v>68352</c:v>
                </c:pt>
                <c:pt idx="80">
                  <c:v>69562</c:v>
                </c:pt>
                <c:pt idx="81">
                  <c:v>68128</c:v>
                </c:pt>
                <c:pt idx="82">
                  <c:v>71876</c:v>
                </c:pt>
                <c:pt idx="83">
                  <c:v>69692</c:v>
                </c:pt>
                <c:pt idx="84">
                  <c:v>69208</c:v>
                </c:pt>
                <c:pt idx="85">
                  <c:v>68032</c:v>
                </c:pt>
                <c:pt idx="86">
                  <c:v>69252</c:v>
                </c:pt>
                <c:pt idx="87">
                  <c:v>70096</c:v>
                </c:pt>
                <c:pt idx="88">
                  <c:v>64880</c:v>
                </c:pt>
                <c:pt idx="89">
                  <c:v>66196</c:v>
                </c:pt>
                <c:pt idx="90">
                  <c:v>64136</c:v>
                </c:pt>
                <c:pt idx="91">
                  <c:v>71704</c:v>
                </c:pt>
                <c:pt idx="92">
                  <c:v>64883</c:v>
                </c:pt>
                <c:pt idx="93">
                  <c:v>66667</c:v>
                </c:pt>
                <c:pt idx="94">
                  <c:v>64948</c:v>
                </c:pt>
                <c:pt idx="95">
                  <c:v>67580</c:v>
                </c:pt>
                <c:pt idx="96">
                  <c:v>69185</c:v>
                </c:pt>
                <c:pt idx="97">
                  <c:v>65992</c:v>
                </c:pt>
                <c:pt idx="98">
                  <c:v>64704</c:v>
                </c:pt>
                <c:pt idx="99">
                  <c:v>59640</c:v>
                </c:pt>
                <c:pt idx="100">
                  <c:v>69044</c:v>
                </c:pt>
                <c:pt idx="101">
                  <c:v>56216</c:v>
                </c:pt>
                <c:pt idx="102">
                  <c:v>51424</c:v>
                </c:pt>
                <c:pt idx="103">
                  <c:v>44016</c:v>
                </c:pt>
                <c:pt idx="104">
                  <c:v>45084</c:v>
                </c:pt>
                <c:pt idx="105">
                  <c:v>40552</c:v>
                </c:pt>
                <c:pt idx="106">
                  <c:v>51828</c:v>
                </c:pt>
                <c:pt idx="107">
                  <c:v>70364</c:v>
                </c:pt>
              </c:numCache>
            </c:numRef>
          </c:val>
          <c:extLst>
            <c:ext xmlns:c16="http://schemas.microsoft.com/office/drawing/2014/chart" uri="{C3380CC4-5D6E-409C-BE32-E72D297353CC}">
              <c16:uniqueId val="{00000000-6F53-47D1-94A7-6E320397265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92</c:v>
                </c:pt>
                <c:pt idx="1">
                  <c:v>196</c:v>
                </c:pt>
                <c:pt idx="2">
                  <c:v>240</c:v>
                </c:pt>
                <c:pt idx="3">
                  <c:v>376</c:v>
                </c:pt>
                <c:pt idx="4">
                  <c:v>228</c:v>
                </c:pt>
                <c:pt idx="5">
                  <c:v>260</c:v>
                </c:pt>
                <c:pt idx="6">
                  <c:v>268</c:v>
                </c:pt>
                <c:pt idx="7">
                  <c:v>160</c:v>
                </c:pt>
                <c:pt idx="8">
                  <c:v>492</c:v>
                </c:pt>
                <c:pt idx="9">
                  <c:v>364</c:v>
                </c:pt>
                <c:pt idx="10">
                  <c:v>264</c:v>
                </c:pt>
                <c:pt idx="11">
                  <c:v>312</c:v>
                </c:pt>
                <c:pt idx="12">
                  <c:v>232</c:v>
                </c:pt>
                <c:pt idx="13">
                  <c:v>164</c:v>
                </c:pt>
                <c:pt idx="14">
                  <c:v>16144</c:v>
                </c:pt>
                <c:pt idx="15">
                  <c:v>17848</c:v>
                </c:pt>
                <c:pt idx="16">
                  <c:v>8392</c:v>
                </c:pt>
                <c:pt idx="17">
                  <c:v>6620</c:v>
                </c:pt>
                <c:pt idx="18">
                  <c:v>4692</c:v>
                </c:pt>
                <c:pt idx="19">
                  <c:v>3160</c:v>
                </c:pt>
                <c:pt idx="20">
                  <c:v>2424</c:v>
                </c:pt>
                <c:pt idx="21">
                  <c:v>1748</c:v>
                </c:pt>
                <c:pt idx="22">
                  <c:v>1992</c:v>
                </c:pt>
                <c:pt idx="23">
                  <c:v>996</c:v>
                </c:pt>
                <c:pt idx="24">
                  <c:v>888</c:v>
                </c:pt>
                <c:pt idx="25">
                  <c:v>648</c:v>
                </c:pt>
                <c:pt idx="26">
                  <c:v>580</c:v>
                </c:pt>
                <c:pt idx="27">
                  <c:v>356</c:v>
                </c:pt>
                <c:pt idx="28">
                  <c:v>476</c:v>
                </c:pt>
                <c:pt idx="29">
                  <c:v>500</c:v>
                </c:pt>
                <c:pt idx="30">
                  <c:v>484</c:v>
                </c:pt>
                <c:pt idx="31">
                  <c:v>284</c:v>
                </c:pt>
                <c:pt idx="32">
                  <c:v>440</c:v>
                </c:pt>
                <c:pt idx="33">
                  <c:v>208</c:v>
                </c:pt>
                <c:pt idx="34">
                  <c:v>264</c:v>
                </c:pt>
                <c:pt idx="35">
                  <c:v>240</c:v>
                </c:pt>
                <c:pt idx="36">
                  <c:v>324</c:v>
                </c:pt>
                <c:pt idx="37">
                  <c:v>276</c:v>
                </c:pt>
                <c:pt idx="38">
                  <c:v>648</c:v>
                </c:pt>
                <c:pt idx="39">
                  <c:v>856</c:v>
                </c:pt>
                <c:pt idx="40">
                  <c:v>444</c:v>
                </c:pt>
                <c:pt idx="41">
                  <c:v>780</c:v>
                </c:pt>
                <c:pt idx="42">
                  <c:v>836</c:v>
                </c:pt>
                <c:pt idx="43">
                  <c:v>800</c:v>
                </c:pt>
                <c:pt idx="44">
                  <c:v>876</c:v>
                </c:pt>
                <c:pt idx="45">
                  <c:v>916</c:v>
                </c:pt>
                <c:pt idx="46">
                  <c:v>840</c:v>
                </c:pt>
                <c:pt idx="47">
                  <c:v>880</c:v>
                </c:pt>
                <c:pt idx="48">
                  <c:v>1068</c:v>
                </c:pt>
                <c:pt idx="49">
                  <c:v>868</c:v>
                </c:pt>
                <c:pt idx="50">
                  <c:v>1004</c:v>
                </c:pt>
                <c:pt idx="51">
                  <c:v>688</c:v>
                </c:pt>
                <c:pt idx="52">
                  <c:v>848</c:v>
                </c:pt>
                <c:pt idx="53">
                  <c:v>864</c:v>
                </c:pt>
                <c:pt idx="54">
                  <c:v>864</c:v>
                </c:pt>
                <c:pt idx="55">
                  <c:v>864</c:v>
                </c:pt>
                <c:pt idx="56">
                  <c:v>808</c:v>
                </c:pt>
                <c:pt idx="57">
                  <c:v>908</c:v>
                </c:pt>
                <c:pt idx="58">
                  <c:v>728</c:v>
                </c:pt>
                <c:pt idx="59">
                  <c:v>1076</c:v>
                </c:pt>
                <c:pt idx="60">
                  <c:v>748</c:v>
                </c:pt>
                <c:pt idx="61">
                  <c:v>784</c:v>
                </c:pt>
                <c:pt idx="62">
                  <c:v>908</c:v>
                </c:pt>
                <c:pt idx="63">
                  <c:v>780</c:v>
                </c:pt>
                <c:pt idx="64">
                  <c:v>940</c:v>
                </c:pt>
                <c:pt idx="65">
                  <c:v>848</c:v>
                </c:pt>
                <c:pt idx="66">
                  <c:v>772</c:v>
                </c:pt>
                <c:pt idx="67">
                  <c:v>804</c:v>
                </c:pt>
                <c:pt idx="68">
                  <c:v>732</c:v>
                </c:pt>
                <c:pt idx="69">
                  <c:v>796</c:v>
                </c:pt>
                <c:pt idx="70">
                  <c:v>804</c:v>
                </c:pt>
                <c:pt idx="71">
                  <c:v>644</c:v>
                </c:pt>
                <c:pt idx="72">
                  <c:v>648</c:v>
                </c:pt>
                <c:pt idx="73">
                  <c:v>632</c:v>
                </c:pt>
                <c:pt idx="74">
                  <c:v>636</c:v>
                </c:pt>
                <c:pt idx="75">
                  <c:v>1008</c:v>
                </c:pt>
                <c:pt idx="76">
                  <c:v>708</c:v>
                </c:pt>
                <c:pt idx="77">
                  <c:v>776</c:v>
                </c:pt>
                <c:pt idx="78">
                  <c:v>804</c:v>
                </c:pt>
                <c:pt idx="79">
                  <c:v>856</c:v>
                </c:pt>
                <c:pt idx="80">
                  <c:v>540</c:v>
                </c:pt>
                <c:pt idx="81">
                  <c:v>668</c:v>
                </c:pt>
                <c:pt idx="82">
                  <c:v>728</c:v>
                </c:pt>
                <c:pt idx="83">
                  <c:v>588</c:v>
                </c:pt>
                <c:pt idx="84">
                  <c:v>760</c:v>
                </c:pt>
                <c:pt idx="85">
                  <c:v>892</c:v>
                </c:pt>
                <c:pt idx="86">
                  <c:v>508</c:v>
                </c:pt>
                <c:pt idx="87">
                  <c:v>760</c:v>
                </c:pt>
                <c:pt idx="88">
                  <c:v>616</c:v>
                </c:pt>
                <c:pt idx="89">
                  <c:v>696</c:v>
                </c:pt>
                <c:pt idx="90">
                  <c:v>629</c:v>
                </c:pt>
                <c:pt idx="91">
                  <c:v>672</c:v>
                </c:pt>
                <c:pt idx="92">
                  <c:v>668</c:v>
                </c:pt>
                <c:pt idx="93">
                  <c:v>788</c:v>
                </c:pt>
                <c:pt idx="94">
                  <c:v>464</c:v>
                </c:pt>
                <c:pt idx="95">
                  <c:v>672</c:v>
                </c:pt>
                <c:pt idx="96">
                  <c:v>624</c:v>
                </c:pt>
                <c:pt idx="97">
                  <c:v>500</c:v>
                </c:pt>
                <c:pt idx="98">
                  <c:v>604</c:v>
                </c:pt>
                <c:pt idx="99">
                  <c:v>500</c:v>
                </c:pt>
                <c:pt idx="100">
                  <c:v>700</c:v>
                </c:pt>
                <c:pt idx="101">
                  <c:v>18164</c:v>
                </c:pt>
                <c:pt idx="102">
                  <c:v>26352</c:v>
                </c:pt>
                <c:pt idx="103">
                  <c:v>15816</c:v>
                </c:pt>
                <c:pt idx="104">
                  <c:v>22048</c:v>
                </c:pt>
                <c:pt idx="105">
                  <c:v>14636</c:v>
                </c:pt>
                <c:pt idx="106">
                  <c:v>6964</c:v>
                </c:pt>
                <c:pt idx="107">
                  <c:v>3156</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68</c:v>
                </c:pt>
                <c:pt idx="1">
                  <c:v>164</c:v>
                </c:pt>
                <c:pt idx="2">
                  <c:v>296</c:v>
                </c:pt>
                <c:pt idx="3">
                  <c:v>420</c:v>
                </c:pt>
                <c:pt idx="4">
                  <c:v>448</c:v>
                </c:pt>
                <c:pt idx="5">
                  <c:v>644</c:v>
                </c:pt>
                <c:pt idx="6">
                  <c:v>596</c:v>
                </c:pt>
                <c:pt idx="7">
                  <c:v>724</c:v>
                </c:pt>
                <c:pt idx="8">
                  <c:v>840</c:v>
                </c:pt>
                <c:pt idx="9">
                  <c:v>832</c:v>
                </c:pt>
                <c:pt idx="10">
                  <c:v>756</c:v>
                </c:pt>
                <c:pt idx="11">
                  <c:v>732</c:v>
                </c:pt>
                <c:pt idx="12">
                  <c:v>756</c:v>
                </c:pt>
                <c:pt idx="13">
                  <c:v>940</c:v>
                </c:pt>
                <c:pt idx="14">
                  <c:v>1104</c:v>
                </c:pt>
                <c:pt idx="15">
                  <c:v>968</c:v>
                </c:pt>
                <c:pt idx="16">
                  <c:v>1072</c:v>
                </c:pt>
                <c:pt idx="17">
                  <c:v>1088</c:v>
                </c:pt>
                <c:pt idx="18">
                  <c:v>1036</c:v>
                </c:pt>
                <c:pt idx="19">
                  <c:v>900</c:v>
                </c:pt>
                <c:pt idx="20">
                  <c:v>1076</c:v>
                </c:pt>
                <c:pt idx="21">
                  <c:v>1156</c:v>
                </c:pt>
                <c:pt idx="22">
                  <c:v>1216</c:v>
                </c:pt>
                <c:pt idx="23">
                  <c:v>1160</c:v>
                </c:pt>
                <c:pt idx="24">
                  <c:v>1264</c:v>
                </c:pt>
                <c:pt idx="25">
                  <c:v>1212</c:v>
                </c:pt>
                <c:pt idx="26">
                  <c:v>1212</c:v>
                </c:pt>
                <c:pt idx="27">
                  <c:v>1288</c:v>
                </c:pt>
                <c:pt idx="28">
                  <c:v>1328</c:v>
                </c:pt>
                <c:pt idx="29">
                  <c:v>1316</c:v>
                </c:pt>
                <c:pt idx="30">
                  <c:v>1424</c:v>
                </c:pt>
                <c:pt idx="31">
                  <c:v>1360</c:v>
                </c:pt>
                <c:pt idx="32">
                  <c:v>1504</c:v>
                </c:pt>
                <c:pt idx="33">
                  <c:v>1432</c:v>
                </c:pt>
                <c:pt idx="34">
                  <c:v>1356</c:v>
                </c:pt>
                <c:pt idx="35">
                  <c:v>1332</c:v>
                </c:pt>
                <c:pt idx="36">
                  <c:v>1428</c:v>
                </c:pt>
                <c:pt idx="37">
                  <c:v>1360</c:v>
                </c:pt>
                <c:pt idx="38">
                  <c:v>1348</c:v>
                </c:pt>
                <c:pt idx="39">
                  <c:v>1460</c:v>
                </c:pt>
                <c:pt idx="40">
                  <c:v>1504</c:v>
                </c:pt>
                <c:pt idx="41">
                  <c:v>1508</c:v>
                </c:pt>
                <c:pt idx="42">
                  <c:v>1356</c:v>
                </c:pt>
                <c:pt idx="43">
                  <c:v>1580</c:v>
                </c:pt>
                <c:pt idx="44">
                  <c:v>1568</c:v>
                </c:pt>
                <c:pt idx="45">
                  <c:v>1552</c:v>
                </c:pt>
                <c:pt idx="46">
                  <c:v>1388</c:v>
                </c:pt>
                <c:pt idx="47">
                  <c:v>1452</c:v>
                </c:pt>
                <c:pt idx="48">
                  <c:v>1492</c:v>
                </c:pt>
                <c:pt idx="49">
                  <c:v>900</c:v>
                </c:pt>
                <c:pt idx="50">
                  <c:v>512</c:v>
                </c:pt>
                <c:pt idx="51">
                  <c:v>376</c:v>
                </c:pt>
                <c:pt idx="52">
                  <c:v>240</c:v>
                </c:pt>
                <c:pt idx="53">
                  <c:v>592</c:v>
                </c:pt>
                <c:pt idx="54">
                  <c:v>344</c:v>
                </c:pt>
                <c:pt idx="55">
                  <c:v>144</c:v>
                </c:pt>
                <c:pt idx="56">
                  <c:v>132</c:v>
                </c:pt>
                <c:pt idx="57">
                  <c:v>68</c:v>
                </c:pt>
                <c:pt idx="58">
                  <c:v>144</c:v>
                </c:pt>
                <c:pt idx="59">
                  <c:v>152</c:v>
                </c:pt>
                <c:pt idx="60">
                  <c:v>192</c:v>
                </c:pt>
                <c:pt idx="61">
                  <c:v>172</c:v>
                </c:pt>
                <c:pt idx="62">
                  <c:v>196</c:v>
                </c:pt>
                <c:pt idx="63">
                  <c:v>84</c:v>
                </c:pt>
                <c:pt idx="64">
                  <c:v>172</c:v>
                </c:pt>
                <c:pt idx="65">
                  <c:v>56</c:v>
                </c:pt>
                <c:pt idx="66">
                  <c:v>112</c:v>
                </c:pt>
                <c:pt idx="67">
                  <c:v>84</c:v>
                </c:pt>
                <c:pt idx="68">
                  <c:v>56</c:v>
                </c:pt>
                <c:pt idx="69">
                  <c:v>108</c:v>
                </c:pt>
                <c:pt idx="70">
                  <c:v>36</c:v>
                </c:pt>
                <c:pt idx="71">
                  <c:v>32</c:v>
                </c:pt>
                <c:pt idx="72">
                  <c:v>96</c:v>
                </c:pt>
                <c:pt idx="73">
                  <c:v>44</c:v>
                </c:pt>
                <c:pt idx="74">
                  <c:v>60</c:v>
                </c:pt>
                <c:pt idx="75">
                  <c:v>48</c:v>
                </c:pt>
                <c:pt idx="76">
                  <c:v>28</c:v>
                </c:pt>
                <c:pt idx="77">
                  <c:v>32</c:v>
                </c:pt>
                <c:pt idx="78">
                  <c:v>24</c:v>
                </c:pt>
                <c:pt idx="79">
                  <c:v>12</c:v>
                </c:pt>
                <c:pt idx="80">
                  <c:v>16</c:v>
                </c:pt>
                <c:pt idx="81">
                  <c:v>16</c:v>
                </c:pt>
                <c:pt idx="82">
                  <c:v>12</c:v>
                </c:pt>
                <c:pt idx="83">
                  <c:v>20</c:v>
                </c:pt>
                <c:pt idx="84">
                  <c:v>8</c:v>
                </c:pt>
                <c:pt idx="85">
                  <c:v>28</c:v>
                </c:pt>
                <c:pt idx="86">
                  <c:v>8</c:v>
                </c:pt>
                <c:pt idx="87">
                  <c:v>44</c:v>
                </c:pt>
                <c:pt idx="88">
                  <c:v>20</c:v>
                </c:pt>
                <c:pt idx="89">
                  <c:v>12</c:v>
                </c:pt>
                <c:pt idx="90">
                  <c:v>8</c:v>
                </c:pt>
                <c:pt idx="91">
                  <c:v>4</c:v>
                </c:pt>
                <c:pt idx="92">
                  <c:v>0</c:v>
                </c:pt>
                <c:pt idx="93">
                  <c:v>16</c:v>
                </c:pt>
                <c:pt idx="94">
                  <c:v>4</c:v>
                </c:pt>
                <c:pt idx="95">
                  <c:v>4</c:v>
                </c:pt>
                <c:pt idx="96">
                  <c:v>4</c:v>
                </c:pt>
                <c:pt idx="97">
                  <c:v>24</c:v>
                </c:pt>
                <c:pt idx="98">
                  <c:v>8</c:v>
                </c:pt>
                <c:pt idx="99">
                  <c:v>4</c:v>
                </c:pt>
                <c:pt idx="100">
                  <c:v>0</c:v>
                </c:pt>
                <c:pt idx="101">
                  <c:v>32</c:v>
                </c:pt>
                <c:pt idx="102">
                  <c:v>8</c:v>
                </c:pt>
                <c:pt idx="103">
                  <c:v>24</c:v>
                </c:pt>
                <c:pt idx="104">
                  <c:v>36</c:v>
                </c:pt>
                <c:pt idx="105">
                  <c:v>84</c:v>
                </c:pt>
                <c:pt idx="106">
                  <c:v>408</c:v>
                </c:pt>
                <c:pt idx="107">
                  <c:v>748</c:v>
                </c:pt>
              </c:numCache>
            </c:numRef>
          </c:val>
          <c:extLst>
            <c:ext xmlns:c16="http://schemas.microsoft.com/office/drawing/2014/chart" uri="{C3380CC4-5D6E-409C-BE32-E72D297353CC}">
              <c16:uniqueId val="{00000000-DD3D-4642-97D9-E9DEC2D41E77}"/>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4</c:v>
                </c:pt>
                <c:pt idx="1">
                  <c:v>0</c:v>
                </c:pt>
                <c:pt idx="2">
                  <c:v>0</c:v>
                </c:pt>
                <c:pt idx="3">
                  <c:v>4</c:v>
                </c:pt>
                <c:pt idx="4">
                  <c:v>0</c:v>
                </c:pt>
                <c:pt idx="5">
                  <c:v>32</c:v>
                </c:pt>
                <c:pt idx="6">
                  <c:v>92</c:v>
                </c:pt>
                <c:pt idx="7">
                  <c:v>104</c:v>
                </c:pt>
                <c:pt idx="8">
                  <c:v>44</c:v>
                </c:pt>
                <c:pt idx="9">
                  <c:v>64</c:v>
                </c:pt>
                <c:pt idx="10">
                  <c:v>96</c:v>
                </c:pt>
                <c:pt idx="11">
                  <c:v>80</c:v>
                </c:pt>
                <c:pt idx="12">
                  <c:v>84</c:v>
                </c:pt>
                <c:pt idx="13">
                  <c:v>88</c:v>
                </c:pt>
                <c:pt idx="14">
                  <c:v>64</c:v>
                </c:pt>
                <c:pt idx="15">
                  <c:v>76</c:v>
                </c:pt>
                <c:pt idx="16">
                  <c:v>68</c:v>
                </c:pt>
                <c:pt idx="17">
                  <c:v>108</c:v>
                </c:pt>
                <c:pt idx="18">
                  <c:v>84</c:v>
                </c:pt>
                <c:pt idx="19">
                  <c:v>72</c:v>
                </c:pt>
                <c:pt idx="20">
                  <c:v>128</c:v>
                </c:pt>
                <c:pt idx="21">
                  <c:v>68</c:v>
                </c:pt>
                <c:pt idx="22">
                  <c:v>132</c:v>
                </c:pt>
                <c:pt idx="23">
                  <c:v>116</c:v>
                </c:pt>
                <c:pt idx="24">
                  <c:v>72</c:v>
                </c:pt>
                <c:pt idx="25">
                  <c:v>120</c:v>
                </c:pt>
                <c:pt idx="26">
                  <c:v>160</c:v>
                </c:pt>
                <c:pt idx="27">
                  <c:v>76</c:v>
                </c:pt>
                <c:pt idx="28">
                  <c:v>96</c:v>
                </c:pt>
                <c:pt idx="29">
                  <c:v>92</c:v>
                </c:pt>
                <c:pt idx="30">
                  <c:v>56</c:v>
                </c:pt>
                <c:pt idx="31">
                  <c:v>96</c:v>
                </c:pt>
                <c:pt idx="32">
                  <c:v>104</c:v>
                </c:pt>
                <c:pt idx="33">
                  <c:v>40</c:v>
                </c:pt>
                <c:pt idx="34">
                  <c:v>48</c:v>
                </c:pt>
                <c:pt idx="35">
                  <c:v>44</c:v>
                </c:pt>
                <c:pt idx="36">
                  <c:v>104</c:v>
                </c:pt>
                <c:pt idx="37">
                  <c:v>76</c:v>
                </c:pt>
                <c:pt idx="38">
                  <c:v>80</c:v>
                </c:pt>
                <c:pt idx="39">
                  <c:v>112</c:v>
                </c:pt>
                <c:pt idx="40">
                  <c:v>96</c:v>
                </c:pt>
                <c:pt idx="41">
                  <c:v>80</c:v>
                </c:pt>
                <c:pt idx="42">
                  <c:v>92</c:v>
                </c:pt>
                <c:pt idx="43">
                  <c:v>12</c:v>
                </c:pt>
                <c:pt idx="44">
                  <c:v>0</c:v>
                </c:pt>
                <c:pt idx="45">
                  <c:v>28</c:v>
                </c:pt>
                <c:pt idx="46">
                  <c:v>0</c:v>
                </c:pt>
                <c:pt idx="47">
                  <c:v>0</c:v>
                </c:pt>
                <c:pt idx="48">
                  <c:v>0</c:v>
                </c:pt>
                <c:pt idx="49">
                  <c:v>796</c:v>
                </c:pt>
                <c:pt idx="50">
                  <c:v>1644</c:v>
                </c:pt>
                <c:pt idx="51">
                  <c:v>1208</c:v>
                </c:pt>
                <c:pt idx="52">
                  <c:v>1048</c:v>
                </c:pt>
                <c:pt idx="53">
                  <c:v>5212</c:v>
                </c:pt>
                <c:pt idx="54">
                  <c:v>5200</c:v>
                </c:pt>
                <c:pt idx="55">
                  <c:v>4308</c:v>
                </c:pt>
                <c:pt idx="56">
                  <c:v>2080</c:v>
                </c:pt>
                <c:pt idx="57">
                  <c:v>1280</c:v>
                </c:pt>
                <c:pt idx="58">
                  <c:v>696</c:v>
                </c:pt>
                <c:pt idx="59">
                  <c:v>656</c:v>
                </c:pt>
                <c:pt idx="60">
                  <c:v>496</c:v>
                </c:pt>
                <c:pt idx="61">
                  <c:v>132</c:v>
                </c:pt>
                <c:pt idx="62">
                  <c:v>144</c:v>
                </c:pt>
                <c:pt idx="63">
                  <c:v>208</c:v>
                </c:pt>
                <c:pt idx="64">
                  <c:v>100</c:v>
                </c:pt>
                <c:pt idx="65">
                  <c:v>12</c:v>
                </c:pt>
                <c:pt idx="66">
                  <c:v>28</c:v>
                </c:pt>
                <c:pt idx="67">
                  <c:v>20</c:v>
                </c:pt>
                <c:pt idx="68">
                  <c:v>52</c:v>
                </c:pt>
                <c:pt idx="69">
                  <c:v>12</c:v>
                </c:pt>
                <c:pt idx="70">
                  <c:v>4</c:v>
                </c:pt>
                <c:pt idx="71">
                  <c:v>20</c:v>
                </c:pt>
                <c:pt idx="72">
                  <c:v>88</c:v>
                </c:pt>
                <c:pt idx="73">
                  <c:v>0</c:v>
                </c:pt>
                <c:pt idx="74">
                  <c:v>0</c:v>
                </c:pt>
                <c:pt idx="75">
                  <c:v>60</c:v>
                </c:pt>
                <c:pt idx="76">
                  <c:v>8</c:v>
                </c:pt>
                <c:pt idx="77">
                  <c:v>12</c:v>
                </c:pt>
                <c:pt idx="78">
                  <c:v>48</c:v>
                </c:pt>
                <c:pt idx="79">
                  <c:v>60</c:v>
                </c:pt>
                <c:pt idx="80">
                  <c:v>60</c:v>
                </c:pt>
                <c:pt idx="81">
                  <c:v>8</c:v>
                </c:pt>
                <c:pt idx="82">
                  <c:v>4</c:v>
                </c:pt>
                <c:pt idx="83">
                  <c:v>8</c:v>
                </c:pt>
                <c:pt idx="84">
                  <c:v>0</c:v>
                </c:pt>
                <c:pt idx="85">
                  <c:v>0</c:v>
                </c:pt>
                <c:pt idx="86">
                  <c:v>0</c:v>
                </c:pt>
                <c:pt idx="87">
                  <c:v>0</c:v>
                </c:pt>
                <c:pt idx="88">
                  <c:v>0</c:v>
                </c:pt>
                <c:pt idx="89">
                  <c:v>0</c:v>
                </c:pt>
                <c:pt idx="90">
                  <c:v>16</c:v>
                </c:pt>
                <c:pt idx="91">
                  <c:v>0</c:v>
                </c:pt>
                <c:pt idx="92">
                  <c:v>8</c:v>
                </c:pt>
                <c:pt idx="93">
                  <c:v>4</c:v>
                </c:pt>
                <c:pt idx="94">
                  <c:v>12</c:v>
                </c:pt>
                <c:pt idx="95">
                  <c:v>0</c:v>
                </c:pt>
                <c:pt idx="96">
                  <c:v>8</c:v>
                </c:pt>
                <c:pt idx="97">
                  <c:v>0</c:v>
                </c:pt>
                <c:pt idx="98">
                  <c:v>0</c:v>
                </c:pt>
                <c:pt idx="99">
                  <c:v>0</c:v>
                </c:pt>
                <c:pt idx="100">
                  <c:v>0</c:v>
                </c:pt>
                <c:pt idx="101">
                  <c:v>8</c:v>
                </c:pt>
                <c:pt idx="102">
                  <c:v>8</c:v>
                </c:pt>
                <c:pt idx="103">
                  <c:v>0</c:v>
                </c:pt>
                <c:pt idx="104">
                  <c:v>0</c:v>
                </c:pt>
                <c:pt idx="105">
                  <c:v>0</c:v>
                </c:pt>
                <c:pt idx="106">
                  <c:v>8</c:v>
                </c:pt>
                <c:pt idx="107">
                  <c:v>0</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0.05</c:v>
                </c:pt>
                <c:pt idx="1">
                  <c:v>0</c:v>
                </c:pt>
                <c:pt idx="2">
                  <c:v>0</c:v>
                </c:pt>
                <c:pt idx="3">
                  <c:v>0</c:v>
                </c:pt>
                <c:pt idx="4">
                  <c:v>0.1</c:v>
                </c:pt>
                <c:pt idx="5">
                  <c:v>0</c:v>
                </c:pt>
                <c:pt idx="6">
                  <c:v>0.1</c:v>
                </c:pt>
                <c:pt idx="7">
                  <c:v>0</c:v>
                </c:pt>
                <c:pt idx="8">
                  <c:v>0.05</c:v>
                </c:pt>
                <c:pt idx="9">
                  <c:v>0</c:v>
                </c:pt>
                <c:pt idx="10">
                  <c:v>0.05</c:v>
                </c:pt>
                <c:pt idx="11">
                  <c:v>0</c:v>
                </c:pt>
                <c:pt idx="12">
                  <c:v>0</c:v>
                </c:pt>
                <c:pt idx="13">
                  <c:v>-0.1</c:v>
                </c:pt>
                <c:pt idx="14">
                  <c:v>-0.1</c:v>
                </c:pt>
                <c:pt idx="15">
                  <c:v>0</c:v>
                </c:pt>
                <c:pt idx="16">
                  <c:v>0.1</c:v>
                </c:pt>
                <c:pt idx="17">
                  <c:v>0.2</c:v>
                </c:pt>
                <c:pt idx="18">
                  <c:v>0.2</c:v>
                </c:pt>
                <c:pt idx="19">
                  <c:v>0.15</c:v>
                </c:pt>
                <c:pt idx="20">
                  <c:v>0.15</c:v>
                </c:pt>
                <c:pt idx="21">
                  <c:v>0.15</c:v>
                </c:pt>
                <c:pt idx="22">
                  <c:v>0.1</c:v>
                </c:pt>
                <c:pt idx="23">
                  <c:v>0.2</c:v>
                </c:pt>
                <c:pt idx="24">
                  <c:v>0.05</c:v>
                </c:pt>
                <c:pt idx="25">
                  <c:v>0.05</c:v>
                </c:pt>
                <c:pt idx="26">
                  <c:v>0.2</c:v>
                </c:pt>
                <c:pt idx="27">
                  <c:v>0.2</c:v>
                </c:pt>
                <c:pt idx="28">
                  <c:v>0.1</c:v>
                </c:pt>
                <c:pt idx="29">
                  <c:v>0.2</c:v>
                </c:pt>
                <c:pt idx="30">
                  <c:v>0.1</c:v>
                </c:pt>
                <c:pt idx="31">
                  <c:v>0.1</c:v>
                </c:pt>
                <c:pt idx="32">
                  <c:v>0.1</c:v>
                </c:pt>
                <c:pt idx="33">
                  <c:v>0</c:v>
                </c:pt>
                <c:pt idx="34">
                  <c:v>0</c:v>
                </c:pt>
                <c:pt idx="35">
                  <c:v>0</c:v>
                </c:pt>
                <c:pt idx="36">
                  <c:v>0.05</c:v>
                </c:pt>
                <c:pt idx="37">
                  <c:v>0</c:v>
                </c:pt>
                <c:pt idx="38">
                  <c:v>0.15</c:v>
                </c:pt>
                <c:pt idx="39">
                  <c:v>0</c:v>
                </c:pt>
                <c:pt idx="40">
                  <c:v>0.15</c:v>
                </c:pt>
                <c:pt idx="41">
                  <c:v>0</c:v>
                </c:pt>
                <c:pt idx="42">
                  <c:v>0.15</c:v>
                </c:pt>
                <c:pt idx="43">
                  <c:v>0.05</c:v>
                </c:pt>
                <c:pt idx="44">
                  <c:v>0.1</c:v>
                </c:pt>
                <c:pt idx="45">
                  <c:v>0.25</c:v>
                </c:pt>
                <c:pt idx="46">
                  <c:v>0.25</c:v>
                </c:pt>
                <c:pt idx="47">
                  <c:v>0.2</c:v>
                </c:pt>
                <c:pt idx="48">
                  <c:v>0.2</c:v>
                </c:pt>
                <c:pt idx="49">
                  <c:v>0.05</c:v>
                </c:pt>
                <c:pt idx="50">
                  <c:v>-0.05</c:v>
                </c:pt>
                <c:pt idx="51">
                  <c:v>-0.05</c:v>
                </c:pt>
                <c:pt idx="52">
                  <c:v>0.2</c:v>
                </c:pt>
                <c:pt idx="53">
                  <c:v>0.05</c:v>
                </c:pt>
                <c:pt idx="54">
                  <c:v>0.15</c:v>
                </c:pt>
                <c:pt idx="55">
                  <c:v>0.1</c:v>
                </c:pt>
                <c:pt idx="56">
                  <c:v>0.1</c:v>
                </c:pt>
                <c:pt idx="57">
                  <c:v>0.1</c:v>
                </c:pt>
                <c:pt idx="58">
                  <c:v>0.2</c:v>
                </c:pt>
                <c:pt idx="59">
                  <c:v>0.2</c:v>
                </c:pt>
                <c:pt idx="60">
                  <c:v>0.2</c:v>
                </c:pt>
                <c:pt idx="61">
                  <c:v>0.2</c:v>
                </c:pt>
                <c:pt idx="62">
                  <c:v>0.2</c:v>
                </c:pt>
                <c:pt idx="63">
                  <c:v>0.15</c:v>
                </c:pt>
                <c:pt idx="64">
                  <c:v>0.15</c:v>
                </c:pt>
                <c:pt idx="65">
                  <c:v>0.05</c:v>
                </c:pt>
                <c:pt idx="66">
                  <c:v>0.05</c:v>
                </c:pt>
                <c:pt idx="67">
                  <c:v>0</c:v>
                </c:pt>
                <c:pt idx="68">
                  <c:v>0.1</c:v>
                </c:pt>
                <c:pt idx="69">
                  <c:v>0.1</c:v>
                </c:pt>
                <c:pt idx="70">
                  <c:v>0.15</c:v>
                </c:pt>
                <c:pt idx="71">
                  <c:v>0.15</c:v>
                </c:pt>
                <c:pt idx="72">
                  <c:v>0.15</c:v>
                </c:pt>
                <c:pt idx="73">
                  <c:v>0.2</c:v>
                </c:pt>
                <c:pt idx="74">
                  <c:v>0.4</c:v>
                </c:pt>
                <c:pt idx="75">
                  <c:v>0.15</c:v>
                </c:pt>
                <c:pt idx="76">
                  <c:v>0.15</c:v>
                </c:pt>
                <c:pt idx="77">
                  <c:v>0</c:v>
                </c:pt>
                <c:pt idx="78">
                  <c:v>0</c:v>
                </c:pt>
                <c:pt idx="79">
                  <c:v>0</c:v>
                </c:pt>
                <c:pt idx="80">
                  <c:v>0</c:v>
                </c:pt>
                <c:pt idx="81">
                  <c:v>0</c:v>
                </c:pt>
                <c:pt idx="82">
                  <c:v>0</c:v>
                </c:pt>
                <c:pt idx="83">
                  <c:v>0.15</c:v>
                </c:pt>
                <c:pt idx="84">
                  <c:v>0.2</c:v>
                </c:pt>
                <c:pt idx="85">
                  <c:v>0.2</c:v>
                </c:pt>
                <c:pt idx="86">
                  <c:v>0.25</c:v>
                </c:pt>
                <c:pt idx="87">
                  <c:v>0.15</c:v>
                </c:pt>
                <c:pt idx="88">
                  <c:v>0.25</c:v>
                </c:pt>
                <c:pt idx="89">
                  <c:v>0.2</c:v>
                </c:pt>
                <c:pt idx="90">
                  <c:v>0.15</c:v>
                </c:pt>
                <c:pt idx="91">
                  <c:v>0.15</c:v>
                </c:pt>
                <c:pt idx="92">
                  <c:v>0.15</c:v>
                </c:pt>
                <c:pt idx="93">
                  <c:v>0.2</c:v>
                </c:pt>
                <c:pt idx="94">
                  <c:v>0.1</c:v>
                </c:pt>
                <c:pt idx="95">
                  <c:v>0.05</c:v>
                </c:pt>
                <c:pt idx="96">
                  <c:v>0.1</c:v>
                </c:pt>
                <c:pt idx="97">
                  <c:v>0.15</c:v>
                </c:pt>
                <c:pt idx="98">
                  <c:v>0.15</c:v>
                </c:pt>
                <c:pt idx="99">
                  <c:v>0.3</c:v>
                </c:pt>
                <c:pt idx="100">
                  <c:v>0.3</c:v>
                </c:pt>
                <c:pt idx="101">
                  <c:v>0.3</c:v>
                </c:pt>
                <c:pt idx="102">
                  <c:v>0.15</c:v>
                </c:pt>
                <c:pt idx="103">
                  <c:v>0</c:v>
                </c:pt>
                <c:pt idx="104">
                  <c:v>0</c:v>
                </c:pt>
                <c:pt idx="105">
                  <c:v>0</c:v>
                </c:pt>
                <c:pt idx="106">
                  <c:v>0.05</c:v>
                </c:pt>
                <c:pt idx="107">
                  <c:v>0.1</c:v>
                </c:pt>
                <c:pt idx="108">
                  <c:v>0.1</c:v>
                </c:pt>
                <c:pt idx="109">
                  <c:v>0.2</c:v>
                </c:pt>
                <c:pt idx="110">
                  <c:v>0.2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23</c:v>
                </c:pt>
                <c:pt idx="1">
                  <c:v>23</c:v>
                </c:pt>
                <c:pt idx="2">
                  <c:v>22.5</c:v>
                </c:pt>
                <c:pt idx="3">
                  <c:v>22.5</c:v>
                </c:pt>
                <c:pt idx="4">
                  <c:v>23</c:v>
                </c:pt>
                <c:pt idx="5">
                  <c:v>22.5</c:v>
                </c:pt>
                <c:pt idx="6">
                  <c:v>23</c:v>
                </c:pt>
                <c:pt idx="7">
                  <c:v>22.5</c:v>
                </c:pt>
                <c:pt idx="8">
                  <c:v>23.5</c:v>
                </c:pt>
                <c:pt idx="9">
                  <c:v>22.5</c:v>
                </c:pt>
                <c:pt idx="10">
                  <c:v>24</c:v>
                </c:pt>
                <c:pt idx="11">
                  <c:v>22</c:v>
                </c:pt>
                <c:pt idx="12">
                  <c:v>22</c:v>
                </c:pt>
                <c:pt idx="13">
                  <c:v>24.5</c:v>
                </c:pt>
                <c:pt idx="14">
                  <c:v>24.5</c:v>
                </c:pt>
                <c:pt idx="15">
                  <c:v>22</c:v>
                </c:pt>
                <c:pt idx="16">
                  <c:v>20.5</c:v>
                </c:pt>
                <c:pt idx="17">
                  <c:v>19.5</c:v>
                </c:pt>
                <c:pt idx="18">
                  <c:v>19.5</c:v>
                </c:pt>
                <c:pt idx="19">
                  <c:v>19</c:v>
                </c:pt>
                <c:pt idx="20">
                  <c:v>18.5</c:v>
                </c:pt>
                <c:pt idx="21">
                  <c:v>19</c:v>
                </c:pt>
                <c:pt idx="22">
                  <c:v>20.5</c:v>
                </c:pt>
                <c:pt idx="23">
                  <c:v>20</c:v>
                </c:pt>
                <c:pt idx="24">
                  <c:v>21</c:v>
                </c:pt>
                <c:pt idx="25">
                  <c:v>21.5</c:v>
                </c:pt>
                <c:pt idx="26">
                  <c:v>18</c:v>
                </c:pt>
                <c:pt idx="27">
                  <c:v>18</c:v>
                </c:pt>
                <c:pt idx="28">
                  <c:v>19.5</c:v>
                </c:pt>
                <c:pt idx="29">
                  <c:v>18</c:v>
                </c:pt>
                <c:pt idx="30">
                  <c:v>19.5</c:v>
                </c:pt>
                <c:pt idx="31">
                  <c:v>19.5</c:v>
                </c:pt>
                <c:pt idx="32">
                  <c:v>19.5</c:v>
                </c:pt>
                <c:pt idx="33">
                  <c:v>22</c:v>
                </c:pt>
                <c:pt idx="34">
                  <c:v>22.5</c:v>
                </c:pt>
                <c:pt idx="35">
                  <c:v>22.5</c:v>
                </c:pt>
                <c:pt idx="36">
                  <c:v>22</c:v>
                </c:pt>
                <c:pt idx="37">
                  <c:v>22.5</c:v>
                </c:pt>
                <c:pt idx="38">
                  <c:v>21</c:v>
                </c:pt>
                <c:pt idx="39">
                  <c:v>22.5</c:v>
                </c:pt>
                <c:pt idx="40">
                  <c:v>21</c:v>
                </c:pt>
                <c:pt idx="41">
                  <c:v>22.5</c:v>
                </c:pt>
                <c:pt idx="42">
                  <c:v>20.5</c:v>
                </c:pt>
                <c:pt idx="43">
                  <c:v>21</c:v>
                </c:pt>
                <c:pt idx="44">
                  <c:v>20</c:v>
                </c:pt>
                <c:pt idx="45">
                  <c:v>15</c:v>
                </c:pt>
                <c:pt idx="46">
                  <c:v>19</c:v>
                </c:pt>
                <c:pt idx="47">
                  <c:v>16.5</c:v>
                </c:pt>
                <c:pt idx="48">
                  <c:v>19.5</c:v>
                </c:pt>
                <c:pt idx="49">
                  <c:v>19.5</c:v>
                </c:pt>
                <c:pt idx="50">
                  <c:v>21</c:v>
                </c:pt>
                <c:pt idx="51">
                  <c:v>21</c:v>
                </c:pt>
                <c:pt idx="52">
                  <c:v>19</c:v>
                </c:pt>
                <c:pt idx="53">
                  <c:v>19</c:v>
                </c:pt>
                <c:pt idx="54">
                  <c:v>20</c:v>
                </c:pt>
                <c:pt idx="55">
                  <c:v>22.5</c:v>
                </c:pt>
                <c:pt idx="56">
                  <c:v>18</c:v>
                </c:pt>
                <c:pt idx="57">
                  <c:v>18</c:v>
                </c:pt>
                <c:pt idx="58">
                  <c:v>16.5</c:v>
                </c:pt>
                <c:pt idx="59">
                  <c:v>16.5</c:v>
                </c:pt>
                <c:pt idx="60">
                  <c:v>16.5</c:v>
                </c:pt>
                <c:pt idx="61">
                  <c:v>16.5</c:v>
                </c:pt>
                <c:pt idx="62">
                  <c:v>16</c:v>
                </c:pt>
                <c:pt idx="63">
                  <c:v>17.5</c:v>
                </c:pt>
                <c:pt idx="64">
                  <c:v>20</c:v>
                </c:pt>
                <c:pt idx="65">
                  <c:v>19.5</c:v>
                </c:pt>
                <c:pt idx="66">
                  <c:v>21</c:v>
                </c:pt>
                <c:pt idx="67">
                  <c:v>20</c:v>
                </c:pt>
                <c:pt idx="68">
                  <c:v>18.5</c:v>
                </c:pt>
                <c:pt idx="69">
                  <c:v>18.5</c:v>
                </c:pt>
                <c:pt idx="70">
                  <c:v>21.5</c:v>
                </c:pt>
                <c:pt idx="71">
                  <c:v>17</c:v>
                </c:pt>
                <c:pt idx="72">
                  <c:v>20.5</c:v>
                </c:pt>
                <c:pt idx="73">
                  <c:v>16</c:v>
                </c:pt>
                <c:pt idx="74">
                  <c:v>15</c:v>
                </c:pt>
                <c:pt idx="75">
                  <c:v>17.5</c:v>
                </c:pt>
                <c:pt idx="76">
                  <c:v>21.5</c:v>
                </c:pt>
                <c:pt idx="77">
                  <c:v>20</c:v>
                </c:pt>
                <c:pt idx="78">
                  <c:v>20</c:v>
                </c:pt>
                <c:pt idx="79">
                  <c:v>20</c:v>
                </c:pt>
                <c:pt idx="80">
                  <c:v>20</c:v>
                </c:pt>
                <c:pt idx="81">
                  <c:v>20.5</c:v>
                </c:pt>
                <c:pt idx="82">
                  <c:v>20</c:v>
                </c:pt>
                <c:pt idx="83">
                  <c:v>17.5</c:v>
                </c:pt>
                <c:pt idx="84">
                  <c:v>21</c:v>
                </c:pt>
                <c:pt idx="85">
                  <c:v>16</c:v>
                </c:pt>
                <c:pt idx="86">
                  <c:v>20</c:v>
                </c:pt>
                <c:pt idx="87">
                  <c:v>17.5</c:v>
                </c:pt>
                <c:pt idx="88">
                  <c:v>20</c:v>
                </c:pt>
                <c:pt idx="89">
                  <c:v>16.5</c:v>
                </c:pt>
                <c:pt idx="90">
                  <c:v>21.5</c:v>
                </c:pt>
                <c:pt idx="91">
                  <c:v>16.5</c:v>
                </c:pt>
                <c:pt idx="92">
                  <c:v>16.5</c:v>
                </c:pt>
                <c:pt idx="93">
                  <c:v>16.5</c:v>
                </c:pt>
                <c:pt idx="94">
                  <c:v>18.5</c:v>
                </c:pt>
                <c:pt idx="95">
                  <c:v>19.5</c:v>
                </c:pt>
                <c:pt idx="96">
                  <c:v>18</c:v>
                </c:pt>
                <c:pt idx="97">
                  <c:v>17</c:v>
                </c:pt>
                <c:pt idx="98">
                  <c:v>17.5</c:v>
                </c:pt>
                <c:pt idx="99">
                  <c:v>14</c:v>
                </c:pt>
                <c:pt idx="100">
                  <c:v>14</c:v>
                </c:pt>
                <c:pt idx="101">
                  <c:v>14</c:v>
                </c:pt>
                <c:pt idx="102">
                  <c:v>16.5</c:v>
                </c:pt>
                <c:pt idx="103">
                  <c:v>20</c:v>
                </c:pt>
                <c:pt idx="104">
                  <c:v>20</c:v>
                </c:pt>
                <c:pt idx="105">
                  <c:v>20</c:v>
                </c:pt>
                <c:pt idx="106">
                  <c:v>19</c:v>
                </c:pt>
                <c:pt idx="107">
                  <c:v>18.5</c:v>
                </c:pt>
                <c:pt idx="108">
                  <c:v>18</c:v>
                </c:pt>
                <c:pt idx="109">
                  <c:v>16</c:v>
                </c:pt>
                <c:pt idx="110">
                  <c:v>15.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9.4"/>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0</c:v>
                </c:pt>
                <c:pt idx="1">
                  <c:v>0.4</c:v>
                </c:pt>
                <c:pt idx="2">
                  <c:v>0</c:v>
                </c:pt>
                <c:pt idx="3">
                  <c:v>0.4</c:v>
                </c:pt>
                <c:pt idx="4">
                  <c:v>0.15</c:v>
                </c:pt>
                <c:pt idx="5">
                  <c:v>0.2</c:v>
                </c:pt>
                <c:pt idx="6">
                  <c:v>0.05</c:v>
                </c:pt>
                <c:pt idx="7">
                  <c:v>0.2</c:v>
                </c:pt>
                <c:pt idx="8">
                  <c:v>0.4</c:v>
                </c:pt>
                <c:pt idx="9">
                  <c:v>0.4</c:v>
                </c:pt>
                <c:pt idx="10">
                  <c:v>0.45</c:v>
                </c:pt>
                <c:pt idx="11">
                  <c:v>0.60000000000000009</c:v>
                </c:pt>
                <c:pt idx="12">
                  <c:v>0.70000000000000007</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25</c:v>
                </c:pt>
                <c:pt idx="1">
                  <c:v>15.5</c:v>
                </c:pt>
                <c:pt idx="2">
                  <c:v>25</c:v>
                </c:pt>
                <c:pt idx="3">
                  <c:v>15.5</c:v>
                </c:pt>
                <c:pt idx="4">
                  <c:v>21.5</c:v>
                </c:pt>
                <c:pt idx="5">
                  <c:v>20</c:v>
                </c:pt>
                <c:pt idx="6">
                  <c:v>23.5</c:v>
                </c:pt>
                <c:pt idx="7">
                  <c:v>20</c:v>
                </c:pt>
                <c:pt idx="8">
                  <c:v>15</c:v>
                </c:pt>
                <c:pt idx="9">
                  <c:v>15</c:v>
                </c:pt>
                <c:pt idx="10">
                  <c:v>13.5</c:v>
                </c:pt>
                <c:pt idx="11">
                  <c:v>9.5</c:v>
                </c:pt>
                <c:pt idx="12">
                  <c:v>7.5</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12</c:f>
              <c:numCache>
                <c:formatCode>General</c:formatCode>
                <c:ptCount val="311"/>
                <c:pt idx="0">
                  <c:v>0</c:v>
                </c:pt>
                <c:pt idx="1">
                  <c:v>0.55000000000000004</c:v>
                </c:pt>
                <c:pt idx="2">
                  <c:v>0.05</c:v>
                </c:pt>
                <c:pt idx="3">
                  <c:v>0.1</c:v>
                </c:pt>
                <c:pt idx="4">
                  <c:v>0.05</c:v>
                </c:pt>
                <c:pt idx="5">
                  <c:v>0.1</c:v>
                </c:pt>
                <c:pt idx="6">
                  <c:v>0.05</c:v>
                </c:pt>
                <c:pt idx="7">
                  <c:v>0.05</c:v>
                </c:pt>
                <c:pt idx="8">
                  <c:v>0.05</c:v>
                </c:pt>
                <c:pt idx="9">
                  <c:v>0.05</c:v>
                </c:pt>
                <c:pt idx="10">
                  <c:v>0.05</c:v>
                </c:pt>
                <c:pt idx="11">
                  <c:v>0.1</c:v>
                </c:pt>
                <c:pt idx="12">
                  <c:v>0.05</c:v>
                </c:pt>
                <c:pt idx="13">
                  <c:v>0.1</c:v>
                </c:pt>
                <c:pt idx="14">
                  <c:v>0.25</c:v>
                </c:pt>
                <c:pt idx="15">
                  <c:v>0.1</c:v>
                </c:pt>
                <c:pt idx="16">
                  <c:v>0.05</c:v>
                </c:pt>
                <c:pt idx="17">
                  <c:v>0.1</c:v>
                </c:pt>
                <c:pt idx="18">
                  <c:v>0.1</c:v>
                </c:pt>
                <c:pt idx="19">
                  <c:v>0</c:v>
                </c:pt>
                <c:pt idx="20">
                  <c:v>0.1</c:v>
                </c:pt>
                <c:pt idx="21">
                  <c:v>0</c:v>
                </c:pt>
                <c:pt idx="22">
                  <c:v>0.1</c:v>
                </c:pt>
                <c:pt idx="23">
                  <c:v>0.05</c:v>
                </c:pt>
                <c:pt idx="24">
                  <c:v>0.05</c:v>
                </c:pt>
                <c:pt idx="25">
                  <c:v>0.1</c:v>
                </c:pt>
                <c:pt idx="26">
                  <c:v>0.15</c:v>
                </c:pt>
                <c:pt idx="27">
                  <c:v>0.1</c:v>
                </c:pt>
                <c:pt idx="28">
                  <c:v>0.05</c:v>
                </c:pt>
                <c:pt idx="29">
                  <c:v>0.1</c:v>
                </c:pt>
                <c:pt idx="30">
                  <c:v>0.1</c:v>
                </c:pt>
                <c:pt idx="31">
                  <c:v>0</c:v>
                </c:pt>
                <c:pt idx="32">
                  <c:v>0.1</c:v>
                </c:pt>
                <c:pt idx="33">
                  <c:v>0.1</c:v>
                </c:pt>
                <c:pt idx="34">
                  <c:v>0.05</c:v>
                </c:pt>
                <c:pt idx="35">
                  <c:v>0.4</c:v>
                </c:pt>
                <c:pt idx="36">
                  <c:v>0</c:v>
                </c:pt>
                <c:pt idx="37">
                  <c:v>0.1</c:v>
                </c:pt>
                <c:pt idx="38">
                  <c:v>0.1</c:v>
                </c:pt>
                <c:pt idx="39">
                  <c:v>0.2</c:v>
                </c:pt>
                <c:pt idx="40">
                  <c:v>0.05</c:v>
                </c:pt>
                <c:pt idx="41">
                  <c:v>0.1</c:v>
                </c:pt>
                <c:pt idx="42">
                  <c:v>0</c:v>
                </c:pt>
                <c:pt idx="43">
                  <c:v>0</c:v>
                </c:pt>
                <c:pt idx="44">
                  <c:v>0.05</c:v>
                </c:pt>
                <c:pt idx="45">
                  <c:v>0.3</c:v>
                </c:pt>
                <c:pt idx="46">
                  <c:v>0.1</c:v>
                </c:pt>
                <c:pt idx="47">
                  <c:v>0.1</c:v>
                </c:pt>
                <c:pt idx="48">
                  <c:v>0</c:v>
                </c:pt>
                <c:pt idx="49">
                  <c:v>0</c:v>
                </c:pt>
                <c:pt idx="50">
                  <c:v>0.05</c:v>
                </c:pt>
                <c:pt idx="51">
                  <c:v>0.1</c:v>
                </c:pt>
                <c:pt idx="52">
                  <c:v>0.05</c:v>
                </c:pt>
                <c:pt idx="53">
                  <c:v>0</c:v>
                </c:pt>
                <c:pt idx="54">
                  <c:v>0</c:v>
                </c:pt>
                <c:pt idx="55">
                  <c:v>0.15</c:v>
                </c:pt>
                <c:pt idx="56">
                  <c:v>0.3</c:v>
                </c:pt>
                <c:pt idx="57">
                  <c:v>0.05</c:v>
                </c:pt>
                <c:pt idx="58">
                  <c:v>0.1</c:v>
                </c:pt>
                <c:pt idx="59">
                  <c:v>0</c:v>
                </c:pt>
                <c:pt idx="60">
                  <c:v>0</c:v>
                </c:pt>
                <c:pt idx="61">
                  <c:v>0.05</c:v>
                </c:pt>
                <c:pt idx="62">
                  <c:v>0.2</c:v>
                </c:pt>
                <c:pt idx="63">
                  <c:v>0.05</c:v>
                </c:pt>
                <c:pt idx="64">
                  <c:v>0</c:v>
                </c:pt>
                <c:pt idx="65">
                  <c:v>0</c:v>
                </c:pt>
                <c:pt idx="66">
                  <c:v>0.1</c:v>
                </c:pt>
                <c:pt idx="67">
                  <c:v>0</c:v>
                </c:pt>
                <c:pt idx="68">
                  <c:v>0</c:v>
                </c:pt>
                <c:pt idx="69">
                  <c:v>0.1</c:v>
                </c:pt>
                <c:pt idx="70">
                  <c:v>0</c:v>
                </c:pt>
                <c:pt idx="71">
                  <c:v>0</c:v>
                </c:pt>
                <c:pt idx="72">
                  <c:v>0</c:v>
                </c:pt>
                <c:pt idx="73">
                  <c:v>0</c:v>
                </c:pt>
                <c:pt idx="74">
                  <c:v>0.1</c:v>
                </c:pt>
                <c:pt idx="75">
                  <c:v>0</c:v>
                </c:pt>
                <c:pt idx="76">
                  <c:v>0.15</c:v>
                </c:pt>
                <c:pt idx="77">
                  <c:v>0.1</c:v>
                </c:pt>
                <c:pt idx="78">
                  <c:v>0</c:v>
                </c:pt>
                <c:pt idx="79">
                  <c:v>0</c:v>
                </c:pt>
                <c:pt idx="80">
                  <c:v>0.15</c:v>
                </c:pt>
                <c:pt idx="81">
                  <c:v>0.1</c:v>
                </c:pt>
                <c:pt idx="82">
                  <c:v>0.05</c:v>
                </c:pt>
                <c:pt idx="83">
                  <c:v>0.55000000000000004</c:v>
                </c:pt>
                <c:pt idx="84">
                  <c:v>0</c:v>
                </c:pt>
                <c:pt idx="85">
                  <c:v>0</c:v>
                </c:pt>
                <c:pt idx="86">
                  <c:v>0.5</c:v>
                </c:pt>
                <c:pt idx="87">
                  <c:v>0.55000000000000004</c:v>
                </c:pt>
                <c:pt idx="88">
                  <c:v>0.65</c:v>
                </c:pt>
                <c:pt idx="89">
                  <c:v>0.60000000000000009</c:v>
                </c:pt>
                <c:pt idx="90">
                  <c:v>0.5</c:v>
                </c:pt>
                <c:pt idx="91">
                  <c:v>0</c:v>
                </c:pt>
                <c:pt idx="92">
                  <c:v>0</c:v>
                </c:pt>
                <c:pt idx="93">
                  <c:v>0.55000000000000004</c:v>
                </c:pt>
                <c:pt idx="94">
                  <c:v>0.65</c:v>
                </c:pt>
                <c:pt idx="95">
                  <c:v>0.60000000000000009</c:v>
                </c:pt>
                <c:pt idx="96">
                  <c:v>0.4</c:v>
                </c:pt>
                <c:pt idx="97">
                  <c:v>0.4</c:v>
                </c:pt>
                <c:pt idx="98">
                  <c:v>0.35</c:v>
                </c:pt>
                <c:pt idx="99">
                  <c:v>0.1</c:v>
                </c:pt>
                <c:pt idx="100">
                  <c:v>0</c:v>
                </c:pt>
                <c:pt idx="101">
                  <c:v>0.15</c:v>
                </c:pt>
                <c:pt idx="102">
                  <c:v>0.1</c:v>
                </c:pt>
                <c:pt idx="103">
                  <c:v>0.05</c:v>
                </c:pt>
                <c:pt idx="104">
                  <c:v>0.05</c:v>
                </c:pt>
                <c:pt idx="105">
                  <c:v>0.05</c:v>
                </c:pt>
                <c:pt idx="106">
                  <c:v>0</c:v>
                </c:pt>
                <c:pt idx="107">
                  <c:v>0.15</c:v>
                </c:pt>
                <c:pt idx="108">
                  <c:v>0</c:v>
                </c:pt>
                <c:pt idx="109">
                  <c:v>0.1</c:v>
                </c:pt>
                <c:pt idx="110">
                  <c:v>0.05</c:v>
                </c:pt>
                <c:pt idx="111">
                  <c:v>0.15</c:v>
                </c:pt>
                <c:pt idx="112">
                  <c:v>0.15</c:v>
                </c:pt>
                <c:pt idx="113">
                  <c:v>0</c:v>
                </c:pt>
                <c:pt idx="114">
                  <c:v>0.15</c:v>
                </c:pt>
                <c:pt idx="115">
                  <c:v>0.05</c:v>
                </c:pt>
                <c:pt idx="116">
                  <c:v>0.1</c:v>
                </c:pt>
                <c:pt idx="117">
                  <c:v>0.05</c:v>
                </c:pt>
                <c:pt idx="118">
                  <c:v>0.1</c:v>
                </c:pt>
                <c:pt idx="119">
                  <c:v>0.05</c:v>
                </c:pt>
                <c:pt idx="120">
                  <c:v>0</c:v>
                </c:pt>
                <c:pt idx="121">
                  <c:v>0.15</c:v>
                </c:pt>
                <c:pt idx="122">
                  <c:v>0.1</c:v>
                </c:pt>
                <c:pt idx="123">
                  <c:v>0</c:v>
                </c:pt>
                <c:pt idx="124">
                  <c:v>0.05</c:v>
                </c:pt>
                <c:pt idx="125">
                  <c:v>0</c:v>
                </c:pt>
                <c:pt idx="126">
                  <c:v>0.15</c:v>
                </c:pt>
                <c:pt idx="127">
                  <c:v>0.05</c:v>
                </c:pt>
                <c:pt idx="128">
                  <c:v>0.1</c:v>
                </c:pt>
                <c:pt idx="129">
                  <c:v>0</c:v>
                </c:pt>
                <c:pt idx="130">
                  <c:v>0.05</c:v>
                </c:pt>
                <c:pt idx="131">
                  <c:v>0</c:v>
                </c:pt>
                <c:pt idx="132">
                  <c:v>0.05</c:v>
                </c:pt>
                <c:pt idx="133">
                  <c:v>0.05</c:v>
                </c:pt>
                <c:pt idx="134">
                  <c:v>0.05</c:v>
                </c:pt>
                <c:pt idx="135">
                  <c:v>0.1</c:v>
                </c:pt>
                <c:pt idx="136">
                  <c:v>0.15</c:v>
                </c:pt>
                <c:pt idx="137">
                  <c:v>0</c:v>
                </c:pt>
                <c:pt idx="138">
                  <c:v>0.2</c:v>
                </c:pt>
                <c:pt idx="139">
                  <c:v>0.05</c:v>
                </c:pt>
                <c:pt idx="140">
                  <c:v>0</c:v>
                </c:pt>
                <c:pt idx="141">
                  <c:v>0.1</c:v>
                </c:pt>
                <c:pt idx="142">
                  <c:v>0.1</c:v>
                </c:pt>
                <c:pt idx="143">
                  <c:v>0</c:v>
                </c:pt>
                <c:pt idx="144">
                  <c:v>0.1</c:v>
                </c:pt>
                <c:pt idx="145">
                  <c:v>0.05</c:v>
                </c:pt>
                <c:pt idx="146">
                  <c:v>0</c:v>
                </c:pt>
                <c:pt idx="147">
                  <c:v>0.2</c:v>
                </c:pt>
                <c:pt idx="148">
                  <c:v>0.05</c:v>
                </c:pt>
                <c:pt idx="149">
                  <c:v>0</c:v>
                </c:pt>
                <c:pt idx="150">
                  <c:v>0.1</c:v>
                </c:pt>
                <c:pt idx="151">
                  <c:v>0.1</c:v>
                </c:pt>
                <c:pt idx="152">
                  <c:v>0.05</c:v>
                </c:pt>
                <c:pt idx="153">
                  <c:v>0.05</c:v>
                </c:pt>
                <c:pt idx="154">
                  <c:v>0.2</c:v>
                </c:pt>
                <c:pt idx="155">
                  <c:v>0.25</c:v>
                </c:pt>
                <c:pt idx="156">
                  <c:v>0</c:v>
                </c:pt>
                <c:pt idx="157">
                  <c:v>0.1</c:v>
                </c:pt>
                <c:pt idx="158">
                  <c:v>0.05</c:v>
                </c:pt>
                <c:pt idx="159">
                  <c:v>0</c:v>
                </c:pt>
                <c:pt idx="160">
                  <c:v>0.1</c:v>
                </c:pt>
                <c:pt idx="161">
                  <c:v>0.1</c:v>
                </c:pt>
                <c:pt idx="162">
                  <c:v>0.15</c:v>
                </c:pt>
                <c:pt idx="163">
                  <c:v>0</c:v>
                </c:pt>
                <c:pt idx="164">
                  <c:v>0.1</c:v>
                </c:pt>
                <c:pt idx="165">
                  <c:v>0.05</c:v>
                </c:pt>
                <c:pt idx="166">
                  <c:v>0.05</c:v>
                </c:pt>
                <c:pt idx="167">
                  <c:v>0.15</c:v>
                </c:pt>
                <c:pt idx="168">
                  <c:v>0.05</c:v>
                </c:pt>
                <c:pt idx="169">
                  <c:v>0.15</c:v>
                </c:pt>
                <c:pt idx="170">
                  <c:v>0</c:v>
                </c:pt>
                <c:pt idx="171">
                  <c:v>0.1</c:v>
                </c:pt>
                <c:pt idx="172">
                  <c:v>0.1</c:v>
                </c:pt>
                <c:pt idx="173">
                  <c:v>0.05</c:v>
                </c:pt>
                <c:pt idx="174">
                  <c:v>0</c:v>
                </c:pt>
                <c:pt idx="175">
                  <c:v>0.05</c:v>
                </c:pt>
                <c:pt idx="176">
                  <c:v>0.2</c:v>
                </c:pt>
                <c:pt idx="177">
                  <c:v>0</c:v>
                </c:pt>
                <c:pt idx="178">
                  <c:v>0.1</c:v>
                </c:pt>
                <c:pt idx="179">
                  <c:v>0.05</c:v>
                </c:pt>
                <c:pt idx="180">
                  <c:v>0.2</c:v>
                </c:pt>
                <c:pt idx="181">
                  <c:v>0.05</c:v>
                </c:pt>
                <c:pt idx="182">
                  <c:v>0.1</c:v>
                </c:pt>
                <c:pt idx="183">
                  <c:v>0.1</c:v>
                </c:pt>
                <c:pt idx="184">
                  <c:v>0</c:v>
                </c:pt>
                <c:pt idx="185">
                  <c:v>0.15</c:v>
                </c:pt>
                <c:pt idx="186">
                  <c:v>0.05</c:v>
                </c:pt>
                <c:pt idx="187">
                  <c:v>0.15</c:v>
                </c:pt>
                <c:pt idx="188">
                  <c:v>0.1</c:v>
                </c:pt>
                <c:pt idx="189">
                  <c:v>0.15</c:v>
                </c:pt>
                <c:pt idx="190">
                  <c:v>0.05</c:v>
                </c:pt>
                <c:pt idx="191">
                  <c:v>0</c:v>
                </c:pt>
                <c:pt idx="192">
                  <c:v>0.1</c:v>
                </c:pt>
                <c:pt idx="193">
                  <c:v>0.3</c:v>
                </c:pt>
                <c:pt idx="194">
                  <c:v>0</c:v>
                </c:pt>
                <c:pt idx="195">
                  <c:v>0.2</c:v>
                </c:pt>
                <c:pt idx="196">
                  <c:v>0.2</c:v>
                </c:pt>
                <c:pt idx="197">
                  <c:v>0</c:v>
                </c:pt>
                <c:pt idx="198">
                  <c:v>0.1</c:v>
                </c:pt>
                <c:pt idx="199">
                  <c:v>0.25</c:v>
                </c:pt>
                <c:pt idx="200">
                  <c:v>0</c:v>
                </c:pt>
                <c:pt idx="201">
                  <c:v>0.1</c:v>
                </c:pt>
                <c:pt idx="202">
                  <c:v>0.15</c:v>
                </c:pt>
                <c:pt idx="203">
                  <c:v>0</c:v>
                </c:pt>
                <c:pt idx="204">
                  <c:v>0.1</c:v>
                </c:pt>
                <c:pt idx="205">
                  <c:v>0.15</c:v>
                </c:pt>
                <c:pt idx="206">
                  <c:v>0</c:v>
                </c:pt>
                <c:pt idx="207">
                  <c:v>0.15</c:v>
                </c:pt>
                <c:pt idx="208">
                  <c:v>0.1</c:v>
                </c:pt>
                <c:pt idx="209">
                  <c:v>0</c:v>
                </c:pt>
                <c:pt idx="210">
                  <c:v>0</c:v>
                </c:pt>
                <c:pt idx="211">
                  <c:v>0.15</c:v>
                </c:pt>
                <c:pt idx="212">
                  <c:v>0.1</c:v>
                </c:pt>
                <c:pt idx="213">
                  <c:v>0</c:v>
                </c:pt>
                <c:pt idx="214">
                  <c:v>0.1</c:v>
                </c:pt>
                <c:pt idx="215">
                  <c:v>0.1</c:v>
                </c:pt>
                <c:pt idx="216">
                  <c:v>0.05</c:v>
                </c:pt>
                <c:pt idx="217">
                  <c:v>0.1</c:v>
                </c:pt>
                <c:pt idx="218">
                  <c:v>0.05</c:v>
                </c:pt>
                <c:pt idx="219">
                  <c:v>0</c:v>
                </c:pt>
                <c:pt idx="220">
                  <c:v>0.15</c:v>
                </c:pt>
                <c:pt idx="221">
                  <c:v>0.2</c:v>
                </c:pt>
                <c:pt idx="222">
                  <c:v>0.1</c:v>
                </c:pt>
                <c:pt idx="223">
                  <c:v>0.05</c:v>
                </c:pt>
                <c:pt idx="224">
                  <c:v>0.15</c:v>
                </c:pt>
                <c:pt idx="225">
                  <c:v>0.1</c:v>
                </c:pt>
                <c:pt idx="226">
                  <c:v>0</c:v>
                </c:pt>
                <c:pt idx="227">
                  <c:v>0.15</c:v>
                </c:pt>
                <c:pt idx="228">
                  <c:v>0</c:v>
                </c:pt>
                <c:pt idx="229">
                  <c:v>0.05</c:v>
                </c:pt>
                <c:pt idx="230">
                  <c:v>0</c:v>
                </c:pt>
                <c:pt idx="231">
                  <c:v>0.3</c:v>
                </c:pt>
                <c:pt idx="232">
                  <c:v>0.1</c:v>
                </c:pt>
                <c:pt idx="233">
                  <c:v>0.05</c:v>
                </c:pt>
                <c:pt idx="234">
                  <c:v>0.25</c:v>
                </c:pt>
                <c:pt idx="235">
                  <c:v>0</c:v>
                </c:pt>
                <c:pt idx="236">
                  <c:v>0.15</c:v>
                </c:pt>
                <c:pt idx="237">
                  <c:v>0</c:v>
                </c:pt>
                <c:pt idx="238">
                  <c:v>0.1</c:v>
                </c:pt>
                <c:pt idx="239">
                  <c:v>0</c:v>
                </c:pt>
                <c:pt idx="240">
                  <c:v>0.1</c:v>
                </c:pt>
                <c:pt idx="241">
                  <c:v>0.05</c:v>
                </c:pt>
                <c:pt idx="242">
                  <c:v>0.05</c:v>
                </c:pt>
                <c:pt idx="243">
                  <c:v>0.15</c:v>
                </c:pt>
                <c:pt idx="244">
                  <c:v>0</c:v>
                </c:pt>
                <c:pt idx="245">
                  <c:v>0.15</c:v>
                </c:pt>
                <c:pt idx="246">
                  <c:v>0</c:v>
                </c:pt>
                <c:pt idx="247">
                  <c:v>0</c:v>
                </c:pt>
                <c:pt idx="248">
                  <c:v>0</c:v>
                </c:pt>
                <c:pt idx="249">
                  <c:v>0.1</c:v>
                </c:pt>
                <c:pt idx="250">
                  <c:v>0.1</c:v>
                </c:pt>
                <c:pt idx="251">
                  <c:v>0.05</c:v>
                </c:pt>
                <c:pt idx="252">
                  <c:v>0.1</c:v>
                </c:pt>
                <c:pt idx="253">
                  <c:v>0</c:v>
                </c:pt>
                <c:pt idx="254">
                  <c:v>0</c:v>
                </c:pt>
                <c:pt idx="255">
                  <c:v>0</c:v>
                </c:pt>
                <c:pt idx="256">
                  <c:v>0</c:v>
                </c:pt>
                <c:pt idx="257">
                  <c:v>0.05</c:v>
                </c:pt>
                <c:pt idx="258">
                  <c:v>0</c:v>
                </c:pt>
                <c:pt idx="259">
                  <c:v>0</c:v>
                </c:pt>
                <c:pt idx="260">
                  <c:v>0.1</c:v>
                </c:pt>
                <c:pt idx="261">
                  <c:v>0</c:v>
                </c:pt>
                <c:pt idx="262">
                  <c:v>0</c:v>
                </c:pt>
                <c:pt idx="263">
                  <c:v>0</c:v>
                </c:pt>
                <c:pt idx="264">
                  <c:v>0</c:v>
                </c:pt>
                <c:pt idx="265">
                  <c:v>0</c:v>
                </c:pt>
                <c:pt idx="266">
                  <c:v>0.05</c:v>
                </c:pt>
                <c:pt idx="267">
                  <c:v>0.05</c:v>
                </c:pt>
                <c:pt idx="268">
                  <c:v>0.05</c:v>
                </c:pt>
                <c:pt idx="269">
                  <c:v>0</c:v>
                </c:pt>
                <c:pt idx="270">
                  <c:v>0.05</c:v>
                </c:pt>
                <c:pt idx="271">
                  <c:v>0</c:v>
                </c:pt>
                <c:pt idx="272">
                  <c:v>0.1</c:v>
                </c:pt>
                <c:pt idx="273">
                  <c:v>0.2</c:v>
                </c:pt>
                <c:pt idx="274">
                  <c:v>0.1</c:v>
                </c:pt>
                <c:pt idx="275">
                  <c:v>0.2</c:v>
                </c:pt>
                <c:pt idx="276">
                  <c:v>0</c:v>
                </c:pt>
                <c:pt idx="277">
                  <c:v>0.05</c:v>
                </c:pt>
                <c:pt idx="278">
                  <c:v>0</c:v>
                </c:pt>
                <c:pt idx="279">
                  <c:v>0.1</c:v>
                </c:pt>
                <c:pt idx="280">
                  <c:v>0</c:v>
                </c:pt>
                <c:pt idx="281">
                  <c:v>0.35</c:v>
                </c:pt>
                <c:pt idx="282">
                  <c:v>0.1</c:v>
                </c:pt>
                <c:pt idx="283">
                  <c:v>0.05</c:v>
                </c:pt>
                <c:pt idx="284">
                  <c:v>0.1</c:v>
                </c:pt>
                <c:pt idx="285">
                  <c:v>0</c:v>
                </c:pt>
                <c:pt idx="286">
                  <c:v>0</c:v>
                </c:pt>
                <c:pt idx="287">
                  <c:v>0.1</c:v>
                </c:pt>
                <c:pt idx="288">
                  <c:v>0.4</c:v>
                </c:pt>
                <c:pt idx="289">
                  <c:v>0.3</c:v>
                </c:pt>
                <c:pt idx="290">
                  <c:v>0.3</c:v>
                </c:pt>
                <c:pt idx="291">
                  <c:v>0.1</c:v>
                </c:pt>
                <c:pt idx="292">
                  <c:v>0.05</c:v>
                </c:pt>
                <c:pt idx="293">
                  <c:v>0</c:v>
                </c:pt>
                <c:pt idx="294">
                  <c:v>0.05</c:v>
                </c:pt>
                <c:pt idx="295">
                  <c:v>0.05</c:v>
                </c:pt>
                <c:pt idx="296">
                  <c:v>0.1</c:v>
                </c:pt>
                <c:pt idx="297">
                  <c:v>0.1</c:v>
                </c:pt>
                <c:pt idx="298">
                  <c:v>0</c:v>
                </c:pt>
                <c:pt idx="299">
                  <c:v>0.05</c:v>
                </c:pt>
                <c:pt idx="300">
                  <c:v>0.1</c:v>
                </c:pt>
                <c:pt idx="301">
                  <c:v>0.2</c:v>
                </c:pt>
                <c:pt idx="302">
                  <c:v>0</c:v>
                </c:pt>
                <c:pt idx="303">
                  <c:v>0.05</c:v>
                </c:pt>
                <c:pt idx="304">
                  <c:v>0.05</c:v>
                </c:pt>
                <c:pt idx="305">
                  <c:v>0.1</c:v>
                </c:pt>
                <c:pt idx="306">
                  <c:v>0.05</c:v>
                </c:pt>
                <c:pt idx="307">
                  <c:v>0.2</c:v>
                </c:pt>
                <c:pt idx="308">
                  <c:v>0.1</c:v>
                </c:pt>
                <c:pt idx="309">
                  <c:v>0.05</c:v>
                </c:pt>
                <c:pt idx="310">
                  <c:v>0.2</c:v>
                </c:pt>
              </c:numCache>
            </c:numRef>
          </c:xVal>
          <c:yVal>
            <c:numRef>
              <c:f>Sheet1!$B$2:$B$312</c:f>
              <c:numCache>
                <c:formatCode>General</c:formatCode>
                <c:ptCount val="311"/>
                <c:pt idx="0">
                  <c:v>0</c:v>
                </c:pt>
                <c:pt idx="1">
                  <c:v>0</c:v>
                </c:pt>
                <c:pt idx="2">
                  <c:v>0</c:v>
                </c:pt>
                <c:pt idx="3">
                  <c:v>0</c:v>
                </c:pt>
                <c:pt idx="4">
                  <c:v>0</c:v>
                </c:pt>
                <c:pt idx="5">
                  <c:v>0</c:v>
                </c:pt>
                <c:pt idx="6">
                  <c:v>0</c:v>
                </c:pt>
                <c:pt idx="7">
                  <c:v>0</c:v>
                </c:pt>
                <c:pt idx="8">
                  <c:v>0</c:v>
                </c:pt>
                <c:pt idx="9">
                  <c:v>0</c:v>
                </c:pt>
                <c:pt idx="10">
                  <c:v>0</c:v>
                </c:pt>
                <c:pt idx="11">
                  <c:v>0.1075739850080159</c:v>
                </c:pt>
                <c:pt idx="12">
                  <c:v>0</c:v>
                </c:pt>
                <c:pt idx="13">
                  <c:v>1.511465339210143E-2</c:v>
                </c:pt>
                <c:pt idx="14">
                  <c:v>0</c:v>
                </c:pt>
                <c:pt idx="15">
                  <c:v>4.2928911239096292E-2</c:v>
                </c:pt>
                <c:pt idx="16">
                  <c:v>0</c:v>
                </c:pt>
                <c:pt idx="17">
                  <c:v>0.12924172747363891</c:v>
                </c:pt>
                <c:pt idx="18">
                  <c:v>0</c:v>
                </c:pt>
                <c:pt idx="19">
                  <c:v>0</c:v>
                </c:pt>
                <c:pt idx="20">
                  <c:v>4.9114348672794912E-2</c:v>
                </c:pt>
                <c:pt idx="21">
                  <c:v>0</c:v>
                </c:pt>
                <c:pt idx="22">
                  <c:v>8.9179428686614243E-2</c:v>
                </c:pt>
                <c:pt idx="23">
                  <c:v>0</c:v>
                </c:pt>
                <c:pt idx="24">
                  <c:v>0</c:v>
                </c:pt>
                <c:pt idx="25">
                  <c:v>2.389419490227571E-2</c:v>
                </c:pt>
                <c:pt idx="26">
                  <c:v>0</c:v>
                </c:pt>
                <c:pt idx="27">
                  <c:v>1.8823908838789379E-2</c:v>
                </c:pt>
                <c:pt idx="28">
                  <c:v>0</c:v>
                </c:pt>
                <c:pt idx="29">
                  <c:v>0</c:v>
                </c:pt>
                <c:pt idx="30">
                  <c:v>3.4681866912813802E-2</c:v>
                </c:pt>
                <c:pt idx="31">
                  <c:v>0</c:v>
                </c:pt>
                <c:pt idx="32">
                  <c:v>4.4997333996871877E-2</c:v>
                </c:pt>
                <c:pt idx="33">
                  <c:v>1.5174586903428671E-2</c:v>
                </c:pt>
                <c:pt idx="34">
                  <c:v>0</c:v>
                </c:pt>
                <c:pt idx="35">
                  <c:v>0</c:v>
                </c:pt>
                <c:pt idx="36">
                  <c:v>0</c:v>
                </c:pt>
                <c:pt idx="37">
                  <c:v>6.8489152641307519E-2</c:v>
                </c:pt>
                <c:pt idx="38">
                  <c:v>0</c:v>
                </c:pt>
                <c:pt idx="39">
                  <c:v>0</c:v>
                </c:pt>
                <c:pt idx="40">
                  <c:v>0</c:v>
                </c:pt>
                <c:pt idx="41">
                  <c:v>1.1495774739492599E-2</c:v>
                </c:pt>
                <c:pt idx="42">
                  <c:v>0</c:v>
                </c:pt>
                <c:pt idx="43">
                  <c:v>0</c:v>
                </c:pt>
                <c:pt idx="44">
                  <c:v>0</c:v>
                </c:pt>
                <c:pt idx="45">
                  <c:v>0</c:v>
                </c:pt>
                <c:pt idx="46">
                  <c:v>2.5666582684389171E-2</c:v>
                </c:pt>
                <c:pt idx="47">
                  <c:v>0</c:v>
                </c:pt>
                <c:pt idx="48">
                  <c:v>0</c:v>
                </c:pt>
                <c:pt idx="49">
                  <c:v>0</c:v>
                </c:pt>
                <c:pt idx="50">
                  <c:v>0</c:v>
                </c:pt>
                <c:pt idx="51">
                  <c:v>0</c:v>
                </c:pt>
                <c:pt idx="52">
                  <c:v>0</c:v>
                </c:pt>
                <c:pt idx="53">
                  <c:v>0</c:v>
                </c:pt>
                <c:pt idx="54">
                  <c:v>0</c:v>
                </c:pt>
                <c:pt idx="55">
                  <c:v>0</c:v>
                </c:pt>
                <c:pt idx="56">
                  <c:v>0</c:v>
                </c:pt>
                <c:pt idx="57">
                  <c:v>3.2344375495060432E-2</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61343300703579084</c:v>
                </c:pt>
                <c:pt idx="84">
                  <c:v>0</c:v>
                </c:pt>
                <c:pt idx="85">
                  <c:v>0</c:v>
                </c:pt>
                <c:pt idx="86">
                  <c:v>0.66535516966160668</c:v>
                </c:pt>
                <c:pt idx="87">
                  <c:v>0.27055852215326892</c:v>
                </c:pt>
                <c:pt idx="88">
                  <c:v>0.87388193202146691</c:v>
                </c:pt>
                <c:pt idx="89">
                  <c:v>0.58664971314511916</c:v>
                </c:pt>
                <c:pt idx="90">
                  <c:v>0.35530624225425611</c:v>
                </c:pt>
                <c:pt idx="91">
                  <c:v>0</c:v>
                </c:pt>
                <c:pt idx="92">
                  <c:v>0.118202886940101</c:v>
                </c:pt>
                <c:pt idx="93">
                  <c:v>0.35411594345179648</c:v>
                </c:pt>
                <c:pt idx="94">
                  <c:v>0.40657113909393539</c:v>
                </c:pt>
                <c:pt idx="95">
                  <c:v>0.53240658421394194</c:v>
                </c:pt>
                <c:pt idx="96">
                  <c:v>6.6735813081228716</c:v>
                </c:pt>
                <c:pt idx="97">
                  <c:v>9.6100644010672305</c:v>
                </c:pt>
                <c:pt idx="98">
                  <c:v>0</c:v>
                </c:pt>
                <c:pt idx="99">
                  <c:v>3.6064811690697382E-3</c:v>
                </c:pt>
                <c:pt idx="100">
                  <c:v>0</c:v>
                </c:pt>
                <c:pt idx="101">
                  <c:v>0</c:v>
                </c:pt>
                <c:pt idx="102">
                  <c:v>0</c:v>
                </c:pt>
                <c:pt idx="103">
                  <c:v>0</c:v>
                </c:pt>
                <c:pt idx="104">
                  <c:v>0</c:v>
                </c:pt>
                <c:pt idx="105">
                  <c:v>0</c:v>
                </c:pt>
                <c:pt idx="106">
                  <c:v>0</c:v>
                </c:pt>
                <c:pt idx="107">
                  <c:v>0</c:v>
                </c:pt>
                <c:pt idx="108">
                  <c:v>0</c:v>
                </c:pt>
                <c:pt idx="109">
                  <c:v>0.18428223887646261</c:v>
                </c:pt>
                <c:pt idx="110">
                  <c:v>0</c:v>
                </c:pt>
                <c:pt idx="111">
                  <c:v>0</c:v>
                </c:pt>
                <c:pt idx="112">
                  <c:v>0</c:v>
                </c:pt>
                <c:pt idx="113">
                  <c:v>0</c:v>
                </c:pt>
                <c:pt idx="114">
                  <c:v>0</c:v>
                </c:pt>
                <c:pt idx="115">
                  <c:v>0</c:v>
                </c:pt>
                <c:pt idx="116">
                  <c:v>4.4485855792578528E-2</c:v>
                </c:pt>
                <c:pt idx="117">
                  <c:v>0</c:v>
                </c:pt>
                <c:pt idx="118">
                  <c:v>0</c:v>
                </c:pt>
                <c:pt idx="119">
                  <c:v>0</c:v>
                </c:pt>
                <c:pt idx="120">
                  <c:v>0</c:v>
                </c:pt>
                <c:pt idx="121">
                  <c:v>0</c:v>
                </c:pt>
                <c:pt idx="122">
                  <c:v>1.074536469066999E-2</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1.208548268238762E-2</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4.4286341356353787E-2</c:v>
                </c:pt>
                <c:pt idx="273">
                  <c:v>0</c:v>
                </c:pt>
                <c:pt idx="274">
                  <c:v>0</c:v>
                </c:pt>
                <c:pt idx="275">
                  <c:v>0</c:v>
                </c:pt>
                <c:pt idx="276">
                  <c:v>0</c:v>
                </c:pt>
                <c:pt idx="277">
                  <c:v>0</c:v>
                </c:pt>
                <c:pt idx="278">
                  <c:v>0</c:v>
                </c:pt>
                <c:pt idx="279">
                  <c:v>9.5030221921740862E-2</c:v>
                </c:pt>
                <c:pt idx="280">
                  <c:v>0</c:v>
                </c:pt>
                <c:pt idx="281">
                  <c:v>8.4190832553788592E-2</c:v>
                </c:pt>
                <c:pt idx="282">
                  <c:v>0</c:v>
                </c:pt>
                <c:pt idx="283">
                  <c:v>0</c:v>
                </c:pt>
                <c:pt idx="284">
                  <c:v>1.9414048711613129E-2</c:v>
                </c:pt>
                <c:pt idx="285">
                  <c:v>0</c:v>
                </c:pt>
                <c:pt idx="286">
                  <c:v>0</c:v>
                </c:pt>
                <c:pt idx="287">
                  <c:v>0.15755358841173461</c:v>
                </c:pt>
                <c:pt idx="288">
                  <c:v>0.15608959402706479</c:v>
                </c:pt>
                <c:pt idx="289">
                  <c:v>7.0868639048581716</c:v>
                </c:pt>
                <c:pt idx="290">
                  <c:v>6.3668380332690564</c:v>
                </c:pt>
                <c:pt idx="291">
                  <c:v>2.6271937311515919E-3</c:v>
                </c:pt>
                <c:pt idx="292">
                  <c:v>1.6755574253260411E-2</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12</c:f>
              <c:numCache>
                <c:formatCode>General</c:formatCode>
                <c:ptCount val="311"/>
                <c:pt idx="0">
                  <c:v>14</c:v>
                </c:pt>
                <c:pt idx="1">
                  <c:v>13.5</c:v>
                </c:pt>
                <c:pt idx="2">
                  <c:v>9.5</c:v>
                </c:pt>
                <c:pt idx="3">
                  <c:v>6</c:v>
                </c:pt>
                <c:pt idx="4">
                  <c:v>13</c:v>
                </c:pt>
                <c:pt idx="5">
                  <c:v>10</c:v>
                </c:pt>
                <c:pt idx="6">
                  <c:v>6</c:v>
                </c:pt>
                <c:pt idx="7">
                  <c:v>27.5</c:v>
                </c:pt>
                <c:pt idx="8">
                  <c:v>6</c:v>
                </c:pt>
                <c:pt idx="9">
                  <c:v>10</c:v>
                </c:pt>
                <c:pt idx="10">
                  <c:v>9.5</c:v>
                </c:pt>
                <c:pt idx="11">
                  <c:v>6</c:v>
                </c:pt>
                <c:pt idx="12">
                  <c:v>13</c:v>
                </c:pt>
                <c:pt idx="13">
                  <c:v>10</c:v>
                </c:pt>
                <c:pt idx="14">
                  <c:v>21.5</c:v>
                </c:pt>
                <c:pt idx="15">
                  <c:v>6</c:v>
                </c:pt>
                <c:pt idx="16">
                  <c:v>9.5</c:v>
                </c:pt>
                <c:pt idx="17">
                  <c:v>6</c:v>
                </c:pt>
                <c:pt idx="18">
                  <c:v>12.5</c:v>
                </c:pt>
                <c:pt idx="19">
                  <c:v>29.5</c:v>
                </c:pt>
                <c:pt idx="20">
                  <c:v>6</c:v>
                </c:pt>
                <c:pt idx="21">
                  <c:v>10</c:v>
                </c:pt>
                <c:pt idx="22">
                  <c:v>6</c:v>
                </c:pt>
                <c:pt idx="23">
                  <c:v>13.5</c:v>
                </c:pt>
                <c:pt idx="24">
                  <c:v>27.5</c:v>
                </c:pt>
                <c:pt idx="25">
                  <c:v>6</c:v>
                </c:pt>
                <c:pt idx="26">
                  <c:v>8.5</c:v>
                </c:pt>
                <c:pt idx="27">
                  <c:v>6</c:v>
                </c:pt>
                <c:pt idx="28">
                  <c:v>13.5</c:v>
                </c:pt>
                <c:pt idx="29">
                  <c:v>27</c:v>
                </c:pt>
                <c:pt idx="30">
                  <c:v>6</c:v>
                </c:pt>
                <c:pt idx="31">
                  <c:v>10</c:v>
                </c:pt>
                <c:pt idx="32">
                  <c:v>6</c:v>
                </c:pt>
                <c:pt idx="33">
                  <c:v>6</c:v>
                </c:pt>
                <c:pt idx="34">
                  <c:v>13.5</c:v>
                </c:pt>
                <c:pt idx="35">
                  <c:v>18</c:v>
                </c:pt>
                <c:pt idx="36">
                  <c:v>10</c:v>
                </c:pt>
                <c:pt idx="37">
                  <c:v>6</c:v>
                </c:pt>
                <c:pt idx="38">
                  <c:v>13</c:v>
                </c:pt>
                <c:pt idx="39">
                  <c:v>24</c:v>
                </c:pt>
                <c:pt idx="40">
                  <c:v>9.5</c:v>
                </c:pt>
                <c:pt idx="41">
                  <c:v>6</c:v>
                </c:pt>
                <c:pt idx="42">
                  <c:v>10</c:v>
                </c:pt>
                <c:pt idx="43">
                  <c:v>10</c:v>
                </c:pt>
                <c:pt idx="44">
                  <c:v>13.5</c:v>
                </c:pt>
                <c:pt idx="45">
                  <c:v>20.5</c:v>
                </c:pt>
                <c:pt idx="46">
                  <c:v>6</c:v>
                </c:pt>
                <c:pt idx="47">
                  <c:v>9</c:v>
                </c:pt>
                <c:pt idx="48">
                  <c:v>10</c:v>
                </c:pt>
                <c:pt idx="49">
                  <c:v>10</c:v>
                </c:pt>
                <c:pt idx="50">
                  <c:v>13.5</c:v>
                </c:pt>
                <c:pt idx="51">
                  <c:v>27</c:v>
                </c:pt>
                <c:pt idx="52">
                  <c:v>9.5</c:v>
                </c:pt>
                <c:pt idx="53">
                  <c:v>10</c:v>
                </c:pt>
                <c:pt idx="54">
                  <c:v>10</c:v>
                </c:pt>
                <c:pt idx="55">
                  <c:v>12</c:v>
                </c:pt>
                <c:pt idx="56">
                  <c:v>21</c:v>
                </c:pt>
                <c:pt idx="57">
                  <c:v>6</c:v>
                </c:pt>
                <c:pt idx="58">
                  <c:v>9</c:v>
                </c:pt>
                <c:pt idx="59">
                  <c:v>10</c:v>
                </c:pt>
                <c:pt idx="60">
                  <c:v>10</c:v>
                </c:pt>
                <c:pt idx="61">
                  <c:v>13.5</c:v>
                </c:pt>
                <c:pt idx="62">
                  <c:v>23.5</c:v>
                </c:pt>
                <c:pt idx="63">
                  <c:v>9.5</c:v>
                </c:pt>
                <c:pt idx="64">
                  <c:v>10</c:v>
                </c:pt>
                <c:pt idx="65">
                  <c:v>10</c:v>
                </c:pt>
                <c:pt idx="66">
                  <c:v>27.5</c:v>
                </c:pt>
                <c:pt idx="67">
                  <c:v>10</c:v>
                </c:pt>
                <c:pt idx="68">
                  <c:v>10</c:v>
                </c:pt>
                <c:pt idx="69">
                  <c:v>10</c:v>
                </c:pt>
                <c:pt idx="70">
                  <c:v>10</c:v>
                </c:pt>
                <c:pt idx="71">
                  <c:v>10</c:v>
                </c:pt>
                <c:pt idx="72">
                  <c:v>10</c:v>
                </c:pt>
                <c:pt idx="73">
                  <c:v>10</c:v>
                </c:pt>
                <c:pt idx="74">
                  <c:v>6</c:v>
                </c:pt>
                <c:pt idx="75">
                  <c:v>10.5</c:v>
                </c:pt>
                <c:pt idx="76">
                  <c:v>8.5</c:v>
                </c:pt>
                <c:pt idx="77">
                  <c:v>6</c:v>
                </c:pt>
                <c:pt idx="78">
                  <c:v>10</c:v>
                </c:pt>
                <c:pt idx="79">
                  <c:v>10</c:v>
                </c:pt>
                <c:pt idx="80">
                  <c:v>5.5</c:v>
                </c:pt>
                <c:pt idx="81">
                  <c:v>6</c:v>
                </c:pt>
                <c:pt idx="82">
                  <c:v>10.5</c:v>
                </c:pt>
                <c:pt idx="83">
                  <c:v>3</c:v>
                </c:pt>
                <c:pt idx="84">
                  <c:v>10</c:v>
                </c:pt>
                <c:pt idx="85">
                  <c:v>10</c:v>
                </c:pt>
                <c:pt idx="86">
                  <c:v>6.5</c:v>
                </c:pt>
                <c:pt idx="87">
                  <c:v>5</c:v>
                </c:pt>
                <c:pt idx="88">
                  <c:v>5</c:v>
                </c:pt>
                <c:pt idx="89">
                  <c:v>4</c:v>
                </c:pt>
                <c:pt idx="90">
                  <c:v>3</c:v>
                </c:pt>
                <c:pt idx="91">
                  <c:v>10</c:v>
                </c:pt>
                <c:pt idx="92">
                  <c:v>10</c:v>
                </c:pt>
                <c:pt idx="93">
                  <c:v>6</c:v>
                </c:pt>
                <c:pt idx="94">
                  <c:v>4.5</c:v>
                </c:pt>
                <c:pt idx="95">
                  <c:v>4</c:v>
                </c:pt>
                <c:pt idx="96">
                  <c:v>6</c:v>
                </c:pt>
                <c:pt idx="97">
                  <c:v>6</c:v>
                </c:pt>
                <c:pt idx="98">
                  <c:v>6.5</c:v>
                </c:pt>
                <c:pt idx="99">
                  <c:v>27</c:v>
                </c:pt>
                <c:pt idx="100">
                  <c:v>15</c:v>
                </c:pt>
                <c:pt idx="101">
                  <c:v>8.5</c:v>
                </c:pt>
                <c:pt idx="102">
                  <c:v>6</c:v>
                </c:pt>
                <c:pt idx="103">
                  <c:v>6.5</c:v>
                </c:pt>
                <c:pt idx="104">
                  <c:v>10.5</c:v>
                </c:pt>
                <c:pt idx="105">
                  <c:v>14</c:v>
                </c:pt>
                <c:pt idx="106">
                  <c:v>15</c:v>
                </c:pt>
                <c:pt idx="107">
                  <c:v>8.5</c:v>
                </c:pt>
                <c:pt idx="108">
                  <c:v>6.5</c:v>
                </c:pt>
                <c:pt idx="109">
                  <c:v>27</c:v>
                </c:pt>
                <c:pt idx="110">
                  <c:v>6</c:v>
                </c:pt>
                <c:pt idx="111">
                  <c:v>9.5</c:v>
                </c:pt>
                <c:pt idx="112">
                  <c:v>13</c:v>
                </c:pt>
                <c:pt idx="113">
                  <c:v>15</c:v>
                </c:pt>
                <c:pt idx="114">
                  <c:v>8.5</c:v>
                </c:pt>
                <c:pt idx="115">
                  <c:v>6.5</c:v>
                </c:pt>
                <c:pt idx="116">
                  <c:v>27</c:v>
                </c:pt>
                <c:pt idx="117">
                  <c:v>6</c:v>
                </c:pt>
                <c:pt idx="118">
                  <c:v>10</c:v>
                </c:pt>
                <c:pt idx="119">
                  <c:v>14.5</c:v>
                </c:pt>
                <c:pt idx="120">
                  <c:v>15</c:v>
                </c:pt>
                <c:pt idx="121">
                  <c:v>8.5</c:v>
                </c:pt>
                <c:pt idx="122">
                  <c:v>27</c:v>
                </c:pt>
                <c:pt idx="123">
                  <c:v>15</c:v>
                </c:pt>
                <c:pt idx="124">
                  <c:v>9.5</c:v>
                </c:pt>
                <c:pt idx="125">
                  <c:v>15</c:v>
                </c:pt>
                <c:pt idx="126">
                  <c:v>8.5</c:v>
                </c:pt>
                <c:pt idx="127">
                  <c:v>6</c:v>
                </c:pt>
                <c:pt idx="128">
                  <c:v>6</c:v>
                </c:pt>
                <c:pt idx="129">
                  <c:v>11</c:v>
                </c:pt>
                <c:pt idx="130">
                  <c:v>14.5</c:v>
                </c:pt>
                <c:pt idx="131">
                  <c:v>15</c:v>
                </c:pt>
                <c:pt idx="132">
                  <c:v>9</c:v>
                </c:pt>
                <c:pt idx="133">
                  <c:v>6</c:v>
                </c:pt>
                <c:pt idx="134">
                  <c:v>6</c:v>
                </c:pt>
                <c:pt idx="135">
                  <c:v>10</c:v>
                </c:pt>
                <c:pt idx="136">
                  <c:v>12.5</c:v>
                </c:pt>
                <c:pt idx="137">
                  <c:v>15</c:v>
                </c:pt>
                <c:pt idx="138">
                  <c:v>8</c:v>
                </c:pt>
                <c:pt idx="139">
                  <c:v>6.5</c:v>
                </c:pt>
                <c:pt idx="140">
                  <c:v>6.5</c:v>
                </c:pt>
                <c:pt idx="141">
                  <c:v>10</c:v>
                </c:pt>
                <c:pt idx="142">
                  <c:v>13.5</c:v>
                </c:pt>
                <c:pt idx="143">
                  <c:v>15</c:v>
                </c:pt>
                <c:pt idx="144">
                  <c:v>8.5</c:v>
                </c:pt>
                <c:pt idx="145">
                  <c:v>6</c:v>
                </c:pt>
                <c:pt idx="146">
                  <c:v>6.5</c:v>
                </c:pt>
                <c:pt idx="147">
                  <c:v>9</c:v>
                </c:pt>
                <c:pt idx="148">
                  <c:v>14.5</c:v>
                </c:pt>
                <c:pt idx="149">
                  <c:v>15</c:v>
                </c:pt>
                <c:pt idx="150">
                  <c:v>9</c:v>
                </c:pt>
                <c:pt idx="151">
                  <c:v>6</c:v>
                </c:pt>
                <c:pt idx="152">
                  <c:v>26.5</c:v>
                </c:pt>
                <c:pt idx="153">
                  <c:v>6</c:v>
                </c:pt>
                <c:pt idx="154">
                  <c:v>9</c:v>
                </c:pt>
                <c:pt idx="155">
                  <c:v>11</c:v>
                </c:pt>
                <c:pt idx="156">
                  <c:v>15</c:v>
                </c:pt>
                <c:pt idx="157">
                  <c:v>9</c:v>
                </c:pt>
                <c:pt idx="158">
                  <c:v>6</c:v>
                </c:pt>
                <c:pt idx="159">
                  <c:v>26.5</c:v>
                </c:pt>
                <c:pt idx="160">
                  <c:v>6</c:v>
                </c:pt>
                <c:pt idx="161">
                  <c:v>10</c:v>
                </c:pt>
                <c:pt idx="162">
                  <c:v>12.5</c:v>
                </c:pt>
                <c:pt idx="163">
                  <c:v>15</c:v>
                </c:pt>
                <c:pt idx="164">
                  <c:v>9</c:v>
                </c:pt>
                <c:pt idx="165">
                  <c:v>6</c:v>
                </c:pt>
                <c:pt idx="166">
                  <c:v>25.5</c:v>
                </c:pt>
                <c:pt idx="167">
                  <c:v>5.5</c:v>
                </c:pt>
                <c:pt idx="168">
                  <c:v>10.5</c:v>
                </c:pt>
                <c:pt idx="169">
                  <c:v>12.5</c:v>
                </c:pt>
                <c:pt idx="170">
                  <c:v>15</c:v>
                </c:pt>
                <c:pt idx="171">
                  <c:v>9</c:v>
                </c:pt>
                <c:pt idx="172">
                  <c:v>6</c:v>
                </c:pt>
                <c:pt idx="173">
                  <c:v>26</c:v>
                </c:pt>
                <c:pt idx="174">
                  <c:v>6.5</c:v>
                </c:pt>
                <c:pt idx="175">
                  <c:v>10.5</c:v>
                </c:pt>
                <c:pt idx="176">
                  <c:v>12</c:v>
                </c:pt>
                <c:pt idx="177">
                  <c:v>15</c:v>
                </c:pt>
                <c:pt idx="178">
                  <c:v>9</c:v>
                </c:pt>
                <c:pt idx="179">
                  <c:v>6.5</c:v>
                </c:pt>
                <c:pt idx="180">
                  <c:v>21</c:v>
                </c:pt>
                <c:pt idx="181">
                  <c:v>6</c:v>
                </c:pt>
                <c:pt idx="182">
                  <c:v>9.5</c:v>
                </c:pt>
                <c:pt idx="183">
                  <c:v>13.5</c:v>
                </c:pt>
                <c:pt idx="184">
                  <c:v>15</c:v>
                </c:pt>
                <c:pt idx="185">
                  <c:v>8.5</c:v>
                </c:pt>
                <c:pt idx="186">
                  <c:v>6</c:v>
                </c:pt>
                <c:pt idx="187">
                  <c:v>23</c:v>
                </c:pt>
                <c:pt idx="188">
                  <c:v>6</c:v>
                </c:pt>
                <c:pt idx="189">
                  <c:v>9.5</c:v>
                </c:pt>
                <c:pt idx="190">
                  <c:v>14.5</c:v>
                </c:pt>
                <c:pt idx="191">
                  <c:v>15</c:v>
                </c:pt>
                <c:pt idx="192">
                  <c:v>9</c:v>
                </c:pt>
                <c:pt idx="193">
                  <c:v>19.5</c:v>
                </c:pt>
                <c:pt idx="194">
                  <c:v>15</c:v>
                </c:pt>
                <c:pt idx="195">
                  <c:v>8</c:v>
                </c:pt>
                <c:pt idx="196">
                  <c:v>22</c:v>
                </c:pt>
                <c:pt idx="197">
                  <c:v>15</c:v>
                </c:pt>
                <c:pt idx="198">
                  <c:v>9</c:v>
                </c:pt>
                <c:pt idx="199">
                  <c:v>20.5</c:v>
                </c:pt>
                <c:pt idx="200">
                  <c:v>15</c:v>
                </c:pt>
                <c:pt idx="201">
                  <c:v>9</c:v>
                </c:pt>
                <c:pt idx="202">
                  <c:v>23.5</c:v>
                </c:pt>
                <c:pt idx="203">
                  <c:v>15</c:v>
                </c:pt>
                <c:pt idx="204">
                  <c:v>9</c:v>
                </c:pt>
                <c:pt idx="205">
                  <c:v>22.5</c:v>
                </c:pt>
                <c:pt idx="206">
                  <c:v>15</c:v>
                </c:pt>
                <c:pt idx="207">
                  <c:v>8.5</c:v>
                </c:pt>
                <c:pt idx="208">
                  <c:v>24.5</c:v>
                </c:pt>
                <c:pt idx="209">
                  <c:v>6.5</c:v>
                </c:pt>
                <c:pt idx="210">
                  <c:v>15</c:v>
                </c:pt>
                <c:pt idx="211">
                  <c:v>8.5</c:v>
                </c:pt>
                <c:pt idx="212">
                  <c:v>24</c:v>
                </c:pt>
                <c:pt idx="213">
                  <c:v>15</c:v>
                </c:pt>
                <c:pt idx="214">
                  <c:v>9</c:v>
                </c:pt>
                <c:pt idx="215">
                  <c:v>24.5</c:v>
                </c:pt>
                <c:pt idx="216">
                  <c:v>6.5</c:v>
                </c:pt>
                <c:pt idx="217">
                  <c:v>10</c:v>
                </c:pt>
                <c:pt idx="218">
                  <c:v>14</c:v>
                </c:pt>
                <c:pt idx="219">
                  <c:v>15</c:v>
                </c:pt>
                <c:pt idx="220">
                  <c:v>8.5</c:v>
                </c:pt>
                <c:pt idx="221">
                  <c:v>5.5</c:v>
                </c:pt>
                <c:pt idx="222">
                  <c:v>24.5</c:v>
                </c:pt>
                <c:pt idx="223">
                  <c:v>6</c:v>
                </c:pt>
                <c:pt idx="224">
                  <c:v>9.5</c:v>
                </c:pt>
                <c:pt idx="225">
                  <c:v>13.5</c:v>
                </c:pt>
                <c:pt idx="226">
                  <c:v>15</c:v>
                </c:pt>
                <c:pt idx="227">
                  <c:v>8.5</c:v>
                </c:pt>
                <c:pt idx="228">
                  <c:v>10</c:v>
                </c:pt>
                <c:pt idx="229">
                  <c:v>6.5</c:v>
                </c:pt>
                <c:pt idx="230">
                  <c:v>10</c:v>
                </c:pt>
                <c:pt idx="231">
                  <c:v>19</c:v>
                </c:pt>
                <c:pt idx="232">
                  <c:v>6</c:v>
                </c:pt>
                <c:pt idx="233">
                  <c:v>10.5</c:v>
                </c:pt>
                <c:pt idx="234">
                  <c:v>11</c:v>
                </c:pt>
                <c:pt idx="235">
                  <c:v>15</c:v>
                </c:pt>
                <c:pt idx="236">
                  <c:v>8.5</c:v>
                </c:pt>
                <c:pt idx="237">
                  <c:v>10</c:v>
                </c:pt>
                <c:pt idx="238">
                  <c:v>6</c:v>
                </c:pt>
                <c:pt idx="239">
                  <c:v>10</c:v>
                </c:pt>
                <c:pt idx="240">
                  <c:v>24</c:v>
                </c:pt>
                <c:pt idx="241">
                  <c:v>6</c:v>
                </c:pt>
                <c:pt idx="242">
                  <c:v>10.5</c:v>
                </c:pt>
                <c:pt idx="243">
                  <c:v>13</c:v>
                </c:pt>
                <c:pt idx="244">
                  <c:v>15</c:v>
                </c:pt>
                <c:pt idx="245">
                  <c:v>8.5</c:v>
                </c:pt>
                <c:pt idx="246">
                  <c:v>10</c:v>
                </c:pt>
                <c:pt idx="247">
                  <c:v>6.5</c:v>
                </c:pt>
                <c:pt idx="248">
                  <c:v>10</c:v>
                </c:pt>
                <c:pt idx="249">
                  <c:v>24.5</c:v>
                </c:pt>
                <c:pt idx="250">
                  <c:v>6</c:v>
                </c:pt>
                <c:pt idx="251">
                  <c:v>10.5</c:v>
                </c:pt>
                <c:pt idx="252">
                  <c:v>14</c:v>
                </c:pt>
                <c:pt idx="253">
                  <c:v>10</c:v>
                </c:pt>
                <c:pt idx="254">
                  <c:v>10</c:v>
                </c:pt>
                <c:pt idx="255">
                  <c:v>10</c:v>
                </c:pt>
                <c:pt idx="256">
                  <c:v>10</c:v>
                </c:pt>
                <c:pt idx="257">
                  <c:v>14</c:v>
                </c:pt>
                <c:pt idx="258">
                  <c:v>10</c:v>
                </c:pt>
                <c:pt idx="259">
                  <c:v>10</c:v>
                </c:pt>
                <c:pt idx="260">
                  <c:v>24.5</c:v>
                </c:pt>
                <c:pt idx="261">
                  <c:v>10</c:v>
                </c:pt>
                <c:pt idx="262">
                  <c:v>10</c:v>
                </c:pt>
                <c:pt idx="263">
                  <c:v>10</c:v>
                </c:pt>
                <c:pt idx="264">
                  <c:v>6.5</c:v>
                </c:pt>
                <c:pt idx="265">
                  <c:v>10</c:v>
                </c:pt>
                <c:pt idx="266">
                  <c:v>6</c:v>
                </c:pt>
                <c:pt idx="267">
                  <c:v>10.5</c:v>
                </c:pt>
                <c:pt idx="268">
                  <c:v>14.5</c:v>
                </c:pt>
                <c:pt idx="269">
                  <c:v>10</c:v>
                </c:pt>
                <c:pt idx="270">
                  <c:v>6</c:v>
                </c:pt>
                <c:pt idx="271">
                  <c:v>10</c:v>
                </c:pt>
                <c:pt idx="272">
                  <c:v>24</c:v>
                </c:pt>
                <c:pt idx="273">
                  <c:v>5.5</c:v>
                </c:pt>
                <c:pt idx="274">
                  <c:v>10</c:v>
                </c:pt>
                <c:pt idx="275">
                  <c:v>12.5</c:v>
                </c:pt>
                <c:pt idx="276">
                  <c:v>10</c:v>
                </c:pt>
                <c:pt idx="277">
                  <c:v>6</c:v>
                </c:pt>
                <c:pt idx="278">
                  <c:v>10</c:v>
                </c:pt>
                <c:pt idx="279">
                  <c:v>24.5</c:v>
                </c:pt>
                <c:pt idx="280">
                  <c:v>6.5</c:v>
                </c:pt>
                <c:pt idx="281">
                  <c:v>6.5</c:v>
                </c:pt>
                <c:pt idx="282">
                  <c:v>10</c:v>
                </c:pt>
                <c:pt idx="283">
                  <c:v>14.5</c:v>
                </c:pt>
                <c:pt idx="284">
                  <c:v>13.5</c:v>
                </c:pt>
                <c:pt idx="285">
                  <c:v>10</c:v>
                </c:pt>
                <c:pt idx="286">
                  <c:v>10</c:v>
                </c:pt>
                <c:pt idx="287">
                  <c:v>24</c:v>
                </c:pt>
                <c:pt idx="288">
                  <c:v>6</c:v>
                </c:pt>
                <c:pt idx="289">
                  <c:v>7</c:v>
                </c:pt>
                <c:pt idx="290">
                  <c:v>7</c:v>
                </c:pt>
                <c:pt idx="291">
                  <c:v>24</c:v>
                </c:pt>
                <c:pt idx="292">
                  <c:v>24</c:v>
                </c:pt>
                <c:pt idx="293">
                  <c:v>14</c:v>
                </c:pt>
                <c:pt idx="294">
                  <c:v>6.5</c:v>
                </c:pt>
                <c:pt idx="295">
                  <c:v>9.5</c:v>
                </c:pt>
                <c:pt idx="296">
                  <c:v>6</c:v>
                </c:pt>
                <c:pt idx="297">
                  <c:v>13.5</c:v>
                </c:pt>
                <c:pt idx="298">
                  <c:v>25</c:v>
                </c:pt>
                <c:pt idx="299">
                  <c:v>6.5</c:v>
                </c:pt>
                <c:pt idx="300">
                  <c:v>10</c:v>
                </c:pt>
                <c:pt idx="301">
                  <c:v>9</c:v>
                </c:pt>
                <c:pt idx="302">
                  <c:v>15</c:v>
                </c:pt>
                <c:pt idx="303">
                  <c:v>6.5</c:v>
                </c:pt>
                <c:pt idx="304">
                  <c:v>9.5</c:v>
                </c:pt>
                <c:pt idx="305">
                  <c:v>6</c:v>
                </c:pt>
                <c:pt idx="306">
                  <c:v>14.5</c:v>
                </c:pt>
                <c:pt idx="307">
                  <c:v>21</c:v>
                </c:pt>
                <c:pt idx="308">
                  <c:v>6</c:v>
                </c:pt>
                <c:pt idx="309">
                  <c:v>10.5</c:v>
                </c:pt>
                <c:pt idx="310">
                  <c:v>8.5</c:v>
                </c:pt>
              </c:numCache>
            </c:numRef>
          </c:xVal>
          <c:yVal>
            <c:numRef>
              <c:f>Sheet1!$B$2:$B$312</c:f>
              <c:numCache>
                <c:formatCode>General</c:formatCode>
                <c:ptCount val="311"/>
                <c:pt idx="0">
                  <c:v>0</c:v>
                </c:pt>
                <c:pt idx="1">
                  <c:v>0</c:v>
                </c:pt>
                <c:pt idx="2">
                  <c:v>0</c:v>
                </c:pt>
                <c:pt idx="3">
                  <c:v>0</c:v>
                </c:pt>
                <c:pt idx="4">
                  <c:v>0</c:v>
                </c:pt>
                <c:pt idx="5">
                  <c:v>0</c:v>
                </c:pt>
                <c:pt idx="6">
                  <c:v>0</c:v>
                </c:pt>
                <c:pt idx="7">
                  <c:v>0</c:v>
                </c:pt>
                <c:pt idx="8">
                  <c:v>0</c:v>
                </c:pt>
                <c:pt idx="9">
                  <c:v>0</c:v>
                </c:pt>
                <c:pt idx="10">
                  <c:v>0</c:v>
                </c:pt>
                <c:pt idx="11">
                  <c:v>0.1075739850080159</c:v>
                </c:pt>
                <c:pt idx="12">
                  <c:v>0</c:v>
                </c:pt>
                <c:pt idx="13">
                  <c:v>1.511465339210143E-2</c:v>
                </c:pt>
                <c:pt idx="14">
                  <c:v>0</c:v>
                </c:pt>
                <c:pt idx="15">
                  <c:v>4.2928911239096292E-2</c:v>
                </c:pt>
                <c:pt idx="16">
                  <c:v>0</c:v>
                </c:pt>
                <c:pt idx="17">
                  <c:v>0.12924172747363891</c:v>
                </c:pt>
                <c:pt idx="18">
                  <c:v>0</c:v>
                </c:pt>
                <c:pt idx="19">
                  <c:v>0</c:v>
                </c:pt>
                <c:pt idx="20">
                  <c:v>4.9114348672794912E-2</c:v>
                </c:pt>
                <c:pt idx="21">
                  <c:v>0</c:v>
                </c:pt>
                <c:pt idx="22">
                  <c:v>8.9179428686614243E-2</c:v>
                </c:pt>
                <c:pt idx="23">
                  <c:v>0</c:v>
                </c:pt>
                <c:pt idx="24">
                  <c:v>0</c:v>
                </c:pt>
                <c:pt idx="25">
                  <c:v>2.389419490227571E-2</c:v>
                </c:pt>
                <c:pt idx="26">
                  <c:v>0</c:v>
                </c:pt>
                <c:pt idx="27">
                  <c:v>1.8823908838789379E-2</c:v>
                </c:pt>
                <c:pt idx="28">
                  <c:v>0</c:v>
                </c:pt>
                <c:pt idx="29">
                  <c:v>0</c:v>
                </c:pt>
                <c:pt idx="30">
                  <c:v>3.4681866912813802E-2</c:v>
                </c:pt>
                <c:pt idx="31">
                  <c:v>0</c:v>
                </c:pt>
                <c:pt idx="32">
                  <c:v>4.4997333996871877E-2</c:v>
                </c:pt>
                <c:pt idx="33">
                  <c:v>1.5174586903428671E-2</c:v>
                </c:pt>
                <c:pt idx="34">
                  <c:v>0</c:v>
                </c:pt>
                <c:pt idx="35">
                  <c:v>0</c:v>
                </c:pt>
                <c:pt idx="36">
                  <c:v>0</c:v>
                </c:pt>
                <c:pt idx="37">
                  <c:v>6.8489152641307519E-2</c:v>
                </c:pt>
                <c:pt idx="38">
                  <c:v>0</c:v>
                </c:pt>
                <c:pt idx="39">
                  <c:v>0</c:v>
                </c:pt>
                <c:pt idx="40">
                  <c:v>0</c:v>
                </c:pt>
                <c:pt idx="41">
                  <c:v>1.1495774739492599E-2</c:v>
                </c:pt>
                <c:pt idx="42">
                  <c:v>0</c:v>
                </c:pt>
                <c:pt idx="43">
                  <c:v>0</c:v>
                </c:pt>
                <c:pt idx="44">
                  <c:v>0</c:v>
                </c:pt>
                <c:pt idx="45">
                  <c:v>0</c:v>
                </c:pt>
                <c:pt idx="46">
                  <c:v>2.5666582684389171E-2</c:v>
                </c:pt>
                <c:pt idx="47">
                  <c:v>0</c:v>
                </c:pt>
                <c:pt idx="48">
                  <c:v>0</c:v>
                </c:pt>
                <c:pt idx="49">
                  <c:v>0</c:v>
                </c:pt>
                <c:pt idx="50">
                  <c:v>0</c:v>
                </c:pt>
                <c:pt idx="51">
                  <c:v>0</c:v>
                </c:pt>
                <c:pt idx="52">
                  <c:v>0</c:v>
                </c:pt>
                <c:pt idx="53">
                  <c:v>0</c:v>
                </c:pt>
                <c:pt idx="54">
                  <c:v>0</c:v>
                </c:pt>
                <c:pt idx="55">
                  <c:v>0</c:v>
                </c:pt>
                <c:pt idx="56">
                  <c:v>0</c:v>
                </c:pt>
                <c:pt idx="57">
                  <c:v>3.2344375495060432E-2</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61343300703579084</c:v>
                </c:pt>
                <c:pt idx="84">
                  <c:v>0</c:v>
                </c:pt>
                <c:pt idx="85">
                  <c:v>0</c:v>
                </c:pt>
                <c:pt idx="86">
                  <c:v>0.66535516966160668</c:v>
                </c:pt>
                <c:pt idx="87">
                  <c:v>0.27055852215326892</c:v>
                </c:pt>
                <c:pt idx="88">
                  <c:v>0.87388193202146691</c:v>
                </c:pt>
                <c:pt idx="89">
                  <c:v>0.58664971314511916</c:v>
                </c:pt>
                <c:pt idx="90">
                  <c:v>0.35530624225425611</c:v>
                </c:pt>
                <c:pt idx="91">
                  <c:v>0</c:v>
                </c:pt>
                <c:pt idx="92">
                  <c:v>0.118202886940101</c:v>
                </c:pt>
                <c:pt idx="93">
                  <c:v>0.35411594345179648</c:v>
                </c:pt>
                <c:pt idx="94">
                  <c:v>0.40657113909393539</c:v>
                </c:pt>
                <c:pt idx="95">
                  <c:v>0.53240658421394194</c:v>
                </c:pt>
                <c:pt idx="96">
                  <c:v>6.6735813081228716</c:v>
                </c:pt>
                <c:pt idx="97">
                  <c:v>9.6100644010672305</c:v>
                </c:pt>
                <c:pt idx="98">
                  <c:v>0</c:v>
                </c:pt>
                <c:pt idx="99">
                  <c:v>3.6064811690697382E-3</c:v>
                </c:pt>
                <c:pt idx="100">
                  <c:v>0</c:v>
                </c:pt>
                <c:pt idx="101">
                  <c:v>0</c:v>
                </c:pt>
                <c:pt idx="102">
                  <c:v>0</c:v>
                </c:pt>
                <c:pt idx="103">
                  <c:v>0</c:v>
                </c:pt>
                <c:pt idx="104">
                  <c:v>0</c:v>
                </c:pt>
                <c:pt idx="105">
                  <c:v>0</c:v>
                </c:pt>
                <c:pt idx="106">
                  <c:v>0</c:v>
                </c:pt>
                <c:pt idx="107">
                  <c:v>0</c:v>
                </c:pt>
                <c:pt idx="108">
                  <c:v>0</c:v>
                </c:pt>
                <c:pt idx="109">
                  <c:v>0.18428223887646261</c:v>
                </c:pt>
                <c:pt idx="110">
                  <c:v>0</c:v>
                </c:pt>
                <c:pt idx="111">
                  <c:v>0</c:v>
                </c:pt>
                <c:pt idx="112">
                  <c:v>0</c:v>
                </c:pt>
                <c:pt idx="113">
                  <c:v>0</c:v>
                </c:pt>
                <c:pt idx="114">
                  <c:v>0</c:v>
                </c:pt>
                <c:pt idx="115">
                  <c:v>0</c:v>
                </c:pt>
                <c:pt idx="116">
                  <c:v>4.4485855792578528E-2</c:v>
                </c:pt>
                <c:pt idx="117">
                  <c:v>0</c:v>
                </c:pt>
                <c:pt idx="118">
                  <c:v>0</c:v>
                </c:pt>
                <c:pt idx="119">
                  <c:v>0</c:v>
                </c:pt>
                <c:pt idx="120">
                  <c:v>0</c:v>
                </c:pt>
                <c:pt idx="121">
                  <c:v>0</c:v>
                </c:pt>
                <c:pt idx="122">
                  <c:v>1.074536469066999E-2</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1.208548268238762E-2</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4.4286341356353787E-2</c:v>
                </c:pt>
                <c:pt idx="273">
                  <c:v>0</c:v>
                </c:pt>
                <c:pt idx="274">
                  <c:v>0</c:v>
                </c:pt>
                <c:pt idx="275">
                  <c:v>0</c:v>
                </c:pt>
                <c:pt idx="276">
                  <c:v>0</c:v>
                </c:pt>
                <c:pt idx="277">
                  <c:v>0</c:v>
                </c:pt>
                <c:pt idx="278">
                  <c:v>0</c:v>
                </c:pt>
                <c:pt idx="279">
                  <c:v>9.5030221921740862E-2</c:v>
                </c:pt>
                <c:pt idx="280">
                  <c:v>0</c:v>
                </c:pt>
                <c:pt idx="281">
                  <c:v>8.4190832553788592E-2</c:v>
                </c:pt>
                <c:pt idx="282">
                  <c:v>0</c:v>
                </c:pt>
                <c:pt idx="283">
                  <c:v>0</c:v>
                </c:pt>
                <c:pt idx="284">
                  <c:v>1.9414048711613129E-2</c:v>
                </c:pt>
                <c:pt idx="285">
                  <c:v>0</c:v>
                </c:pt>
                <c:pt idx="286">
                  <c:v>0</c:v>
                </c:pt>
                <c:pt idx="287">
                  <c:v>0.15755358841173461</c:v>
                </c:pt>
                <c:pt idx="288">
                  <c:v>0.15608959402706479</c:v>
                </c:pt>
                <c:pt idx="289">
                  <c:v>7.0868639048581716</c:v>
                </c:pt>
                <c:pt idx="290">
                  <c:v>6.3668380332690564</c:v>
                </c:pt>
                <c:pt idx="291">
                  <c:v>2.6271937311515919E-3</c:v>
                </c:pt>
                <c:pt idx="292">
                  <c:v>1.6755574253260411E-2</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5.4"/>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1</c:f>
              <c:numCache>
                <c:formatCode>General</c:formatCode>
                <c:ptCount val="14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1</c:v>
                </c:pt>
                <c:pt idx="18">
                  <c:v>0</c:v>
                </c:pt>
                <c:pt idx="19">
                  <c:v>0.1</c:v>
                </c:pt>
                <c:pt idx="20">
                  <c:v>0.05</c:v>
                </c:pt>
                <c:pt idx="21">
                  <c:v>0.15</c:v>
                </c:pt>
                <c:pt idx="22">
                  <c:v>0.15</c:v>
                </c:pt>
                <c:pt idx="23">
                  <c:v>0.25</c:v>
                </c:pt>
                <c:pt idx="24">
                  <c:v>0.05</c:v>
                </c:pt>
                <c:pt idx="25">
                  <c:v>0.1</c:v>
                </c:pt>
                <c:pt idx="26">
                  <c:v>0.25</c:v>
                </c:pt>
                <c:pt idx="27">
                  <c:v>0.1</c:v>
                </c:pt>
                <c:pt idx="28">
                  <c:v>0.3</c:v>
                </c:pt>
                <c:pt idx="29">
                  <c:v>0.15</c:v>
                </c:pt>
                <c:pt idx="30">
                  <c:v>0.05</c:v>
                </c:pt>
                <c:pt idx="31">
                  <c:v>0.3</c:v>
                </c:pt>
                <c:pt idx="32">
                  <c:v>0.60000000000000009</c:v>
                </c:pt>
                <c:pt idx="33">
                  <c:v>0.1</c:v>
                </c:pt>
                <c:pt idx="34">
                  <c:v>0.65</c:v>
                </c:pt>
                <c:pt idx="35">
                  <c:v>0.05</c:v>
                </c:pt>
                <c:pt idx="36">
                  <c:v>0.1</c:v>
                </c:pt>
                <c:pt idx="37">
                  <c:v>0.1</c:v>
                </c:pt>
                <c:pt idx="38">
                  <c:v>0.1</c:v>
                </c:pt>
                <c:pt idx="39">
                  <c:v>0.1</c:v>
                </c:pt>
                <c:pt idx="40">
                  <c:v>0.1</c:v>
                </c:pt>
                <c:pt idx="41">
                  <c:v>0.05</c:v>
                </c:pt>
                <c:pt idx="42">
                  <c:v>0.1</c:v>
                </c:pt>
                <c:pt idx="43">
                  <c:v>0.1</c:v>
                </c:pt>
                <c:pt idx="44">
                  <c:v>0.1</c:v>
                </c:pt>
                <c:pt idx="45">
                  <c:v>0.1</c:v>
                </c:pt>
                <c:pt idx="46">
                  <c:v>0.05</c:v>
                </c:pt>
                <c:pt idx="47">
                  <c:v>0.1</c:v>
                </c:pt>
                <c:pt idx="48">
                  <c:v>0.1</c:v>
                </c:pt>
                <c:pt idx="49">
                  <c:v>0.1</c:v>
                </c:pt>
                <c:pt idx="50">
                  <c:v>0.1</c:v>
                </c:pt>
                <c:pt idx="51">
                  <c:v>0.05</c:v>
                </c:pt>
                <c:pt idx="52">
                  <c:v>0.1</c:v>
                </c:pt>
                <c:pt idx="53">
                  <c:v>0.1</c:v>
                </c:pt>
                <c:pt idx="54">
                  <c:v>0.1</c:v>
                </c:pt>
                <c:pt idx="55">
                  <c:v>0.1</c:v>
                </c:pt>
                <c:pt idx="56">
                  <c:v>0.1</c:v>
                </c:pt>
                <c:pt idx="57">
                  <c:v>0.1</c:v>
                </c:pt>
                <c:pt idx="58">
                  <c:v>0</c:v>
                </c:pt>
                <c:pt idx="59">
                  <c:v>0.1</c:v>
                </c:pt>
                <c:pt idx="60">
                  <c:v>0</c:v>
                </c:pt>
                <c:pt idx="61">
                  <c:v>0.1</c:v>
                </c:pt>
                <c:pt idx="62">
                  <c:v>0</c:v>
                </c:pt>
                <c:pt idx="63">
                  <c:v>0</c:v>
                </c:pt>
                <c:pt idx="64">
                  <c:v>0.1</c:v>
                </c:pt>
                <c:pt idx="65">
                  <c:v>0</c:v>
                </c:pt>
                <c:pt idx="66">
                  <c:v>0.1</c:v>
                </c:pt>
                <c:pt idx="67">
                  <c:v>0</c:v>
                </c:pt>
                <c:pt idx="68">
                  <c:v>0.1</c:v>
                </c:pt>
                <c:pt idx="69">
                  <c:v>0</c:v>
                </c:pt>
                <c:pt idx="70">
                  <c:v>0.15</c:v>
                </c:pt>
                <c:pt idx="71">
                  <c:v>0</c:v>
                </c:pt>
                <c:pt idx="72">
                  <c:v>0</c:v>
                </c:pt>
                <c:pt idx="73">
                  <c:v>0</c:v>
                </c:pt>
                <c:pt idx="74">
                  <c:v>0.05</c:v>
                </c:pt>
                <c:pt idx="75">
                  <c:v>0</c:v>
                </c:pt>
                <c:pt idx="76">
                  <c:v>0</c:v>
                </c:pt>
                <c:pt idx="77">
                  <c:v>0</c:v>
                </c:pt>
                <c:pt idx="78">
                  <c:v>0</c:v>
                </c:pt>
                <c:pt idx="79">
                  <c:v>0</c:v>
                </c:pt>
                <c:pt idx="80">
                  <c:v>0.05</c:v>
                </c:pt>
                <c:pt idx="81">
                  <c:v>0</c:v>
                </c:pt>
                <c:pt idx="82">
                  <c:v>0</c:v>
                </c:pt>
                <c:pt idx="83">
                  <c:v>0</c:v>
                </c:pt>
                <c:pt idx="84">
                  <c:v>0</c:v>
                </c:pt>
                <c:pt idx="85">
                  <c:v>0</c:v>
                </c:pt>
                <c:pt idx="86">
                  <c:v>0</c:v>
                </c:pt>
                <c:pt idx="87">
                  <c:v>0</c:v>
                </c:pt>
                <c:pt idx="88">
                  <c:v>0</c:v>
                </c:pt>
                <c:pt idx="89">
                  <c:v>0.1</c:v>
                </c:pt>
                <c:pt idx="90">
                  <c:v>0</c:v>
                </c:pt>
                <c:pt idx="91">
                  <c:v>0</c:v>
                </c:pt>
                <c:pt idx="92">
                  <c:v>0</c:v>
                </c:pt>
                <c:pt idx="93">
                  <c:v>0</c:v>
                </c:pt>
                <c:pt idx="94">
                  <c:v>0</c:v>
                </c:pt>
                <c:pt idx="95">
                  <c:v>0</c:v>
                </c:pt>
                <c:pt idx="96">
                  <c:v>0</c:v>
                </c:pt>
                <c:pt idx="97">
                  <c:v>0.05</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05</c:v>
                </c:pt>
                <c:pt idx="113">
                  <c:v>0</c:v>
                </c:pt>
                <c:pt idx="114">
                  <c:v>0</c:v>
                </c:pt>
                <c:pt idx="115">
                  <c:v>0.05</c:v>
                </c:pt>
                <c:pt idx="116">
                  <c:v>0</c:v>
                </c:pt>
                <c:pt idx="117">
                  <c:v>0.25</c:v>
                </c:pt>
                <c:pt idx="118">
                  <c:v>0</c:v>
                </c:pt>
                <c:pt idx="119">
                  <c:v>0</c:v>
                </c:pt>
                <c:pt idx="120">
                  <c:v>0.3</c:v>
                </c:pt>
                <c:pt idx="121">
                  <c:v>0</c:v>
                </c:pt>
                <c:pt idx="122">
                  <c:v>0</c:v>
                </c:pt>
                <c:pt idx="123">
                  <c:v>0</c:v>
                </c:pt>
                <c:pt idx="124">
                  <c:v>0</c:v>
                </c:pt>
                <c:pt idx="125">
                  <c:v>0.05</c:v>
                </c:pt>
                <c:pt idx="126">
                  <c:v>0</c:v>
                </c:pt>
                <c:pt idx="127">
                  <c:v>0</c:v>
                </c:pt>
                <c:pt idx="128">
                  <c:v>0</c:v>
                </c:pt>
                <c:pt idx="129">
                  <c:v>0</c:v>
                </c:pt>
                <c:pt idx="130">
                  <c:v>0</c:v>
                </c:pt>
                <c:pt idx="131">
                  <c:v>0</c:v>
                </c:pt>
                <c:pt idx="132">
                  <c:v>0</c:v>
                </c:pt>
                <c:pt idx="133">
                  <c:v>0</c:v>
                </c:pt>
                <c:pt idx="134">
                  <c:v>0</c:v>
                </c:pt>
                <c:pt idx="135">
                  <c:v>0.15</c:v>
                </c:pt>
                <c:pt idx="136">
                  <c:v>0</c:v>
                </c:pt>
                <c:pt idx="137">
                  <c:v>0</c:v>
                </c:pt>
                <c:pt idx="138">
                  <c:v>0.2</c:v>
                </c:pt>
                <c:pt idx="139">
                  <c:v>0.05</c:v>
                </c:pt>
              </c:numCache>
            </c:numRef>
          </c:xVal>
          <c:yVal>
            <c:numRef>
              <c:f>Sheet1!$B$2:$B$141</c:f>
              <c:numCache>
                <c:formatCode>General</c:formatCode>
                <c:ptCount val="14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4.0487285410525882E-2</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2.6039775730140859E-2</c:v>
                </c:pt>
                <c:pt idx="52">
                  <c:v>0.13263436918561239</c:v>
                </c:pt>
                <c:pt idx="53">
                  <c:v>0.13587093257650229</c:v>
                </c:pt>
                <c:pt idx="54">
                  <c:v>0</c:v>
                </c:pt>
                <c:pt idx="55">
                  <c:v>0.1014771618985696</c:v>
                </c:pt>
                <c:pt idx="56">
                  <c:v>0</c:v>
                </c:pt>
                <c:pt idx="57">
                  <c:v>0.22680211279878809</c:v>
                </c:pt>
                <c:pt idx="58">
                  <c:v>0</c:v>
                </c:pt>
                <c:pt idx="59">
                  <c:v>0.18786299617503269</c:v>
                </c:pt>
                <c:pt idx="60">
                  <c:v>0</c:v>
                </c:pt>
                <c:pt idx="61">
                  <c:v>0.13604560749668199</c:v>
                </c:pt>
                <c:pt idx="62">
                  <c:v>0</c:v>
                </c:pt>
                <c:pt idx="63">
                  <c:v>0</c:v>
                </c:pt>
                <c:pt idx="64">
                  <c:v>0.20910067712132019</c:v>
                </c:pt>
                <c:pt idx="65">
                  <c:v>0</c:v>
                </c:pt>
                <c:pt idx="66">
                  <c:v>0.16867160794838021</c:v>
                </c:pt>
                <c:pt idx="67">
                  <c:v>0</c:v>
                </c:pt>
                <c:pt idx="68">
                  <c:v>9.6960278752240732E-3</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27296962627611893</c:v>
                </c:pt>
                <c:pt idx="118">
                  <c:v>0</c:v>
                </c:pt>
                <c:pt idx="119">
                  <c:v>0</c:v>
                </c:pt>
                <c:pt idx="120">
                  <c:v>0.17453825430309389</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15649360016511971</c:v>
                </c:pt>
                <c:pt idx="139">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1</c:f>
              <c:numCache>
                <c:formatCode>General</c:formatCode>
                <c:ptCount val="140"/>
                <c:pt idx="0">
                  <c:v>6</c:v>
                </c:pt>
                <c:pt idx="1">
                  <c:v>5.5</c:v>
                </c:pt>
                <c:pt idx="2">
                  <c:v>6</c:v>
                </c:pt>
                <c:pt idx="3">
                  <c:v>4</c:v>
                </c:pt>
                <c:pt idx="4">
                  <c:v>6</c:v>
                </c:pt>
                <c:pt idx="5">
                  <c:v>6</c:v>
                </c:pt>
                <c:pt idx="6">
                  <c:v>5.5</c:v>
                </c:pt>
                <c:pt idx="7">
                  <c:v>6</c:v>
                </c:pt>
                <c:pt idx="8">
                  <c:v>6</c:v>
                </c:pt>
                <c:pt idx="9">
                  <c:v>6</c:v>
                </c:pt>
                <c:pt idx="10">
                  <c:v>6</c:v>
                </c:pt>
                <c:pt idx="11">
                  <c:v>6</c:v>
                </c:pt>
                <c:pt idx="12">
                  <c:v>6</c:v>
                </c:pt>
                <c:pt idx="13">
                  <c:v>6</c:v>
                </c:pt>
                <c:pt idx="14">
                  <c:v>5.5</c:v>
                </c:pt>
                <c:pt idx="15">
                  <c:v>6</c:v>
                </c:pt>
                <c:pt idx="16">
                  <c:v>6</c:v>
                </c:pt>
                <c:pt idx="17">
                  <c:v>7.5</c:v>
                </c:pt>
                <c:pt idx="18">
                  <c:v>5.5</c:v>
                </c:pt>
                <c:pt idx="19">
                  <c:v>7.5</c:v>
                </c:pt>
                <c:pt idx="20">
                  <c:v>5.5</c:v>
                </c:pt>
                <c:pt idx="21">
                  <c:v>14</c:v>
                </c:pt>
                <c:pt idx="22">
                  <c:v>7.5</c:v>
                </c:pt>
                <c:pt idx="23">
                  <c:v>3</c:v>
                </c:pt>
                <c:pt idx="24">
                  <c:v>5.5</c:v>
                </c:pt>
                <c:pt idx="25">
                  <c:v>8</c:v>
                </c:pt>
                <c:pt idx="26">
                  <c:v>3</c:v>
                </c:pt>
                <c:pt idx="27">
                  <c:v>7.5</c:v>
                </c:pt>
                <c:pt idx="28">
                  <c:v>3</c:v>
                </c:pt>
                <c:pt idx="29">
                  <c:v>7.5</c:v>
                </c:pt>
                <c:pt idx="30">
                  <c:v>5.5</c:v>
                </c:pt>
                <c:pt idx="31">
                  <c:v>3</c:v>
                </c:pt>
                <c:pt idx="32">
                  <c:v>1.5</c:v>
                </c:pt>
                <c:pt idx="33">
                  <c:v>7.5</c:v>
                </c:pt>
                <c:pt idx="34">
                  <c:v>1.5</c:v>
                </c:pt>
                <c:pt idx="35">
                  <c:v>5.5</c:v>
                </c:pt>
                <c:pt idx="36">
                  <c:v>5.5</c:v>
                </c:pt>
                <c:pt idx="37">
                  <c:v>3.5</c:v>
                </c:pt>
                <c:pt idx="38">
                  <c:v>7.5</c:v>
                </c:pt>
                <c:pt idx="39">
                  <c:v>5.5</c:v>
                </c:pt>
                <c:pt idx="40">
                  <c:v>3.5</c:v>
                </c:pt>
                <c:pt idx="41">
                  <c:v>5.5</c:v>
                </c:pt>
                <c:pt idx="42">
                  <c:v>8</c:v>
                </c:pt>
                <c:pt idx="43">
                  <c:v>5.5</c:v>
                </c:pt>
                <c:pt idx="44">
                  <c:v>3.5</c:v>
                </c:pt>
                <c:pt idx="45">
                  <c:v>7.5</c:v>
                </c:pt>
                <c:pt idx="46">
                  <c:v>5.5</c:v>
                </c:pt>
                <c:pt idx="47">
                  <c:v>7.5</c:v>
                </c:pt>
                <c:pt idx="48">
                  <c:v>7.5</c:v>
                </c:pt>
                <c:pt idx="49">
                  <c:v>7.5</c:v>
                </c:pt>
                <c:pt idx="50">
                  <c:v>8</c:v>
                </c:pt>
                <c:pt idx="51">
                  <c:v>1</c:v>
                </c:pt>
                <c:pt idx="52">
                  <c:v>1</c:v>
                </c:pt>
                <c:pt idx="53">
                  <c:v>1</c:v>
                </c:pt>
                <c:pt idx="54">
                  <c:v>7.5</c:v>
                </c:pt>
                <c:pt idx="55">
                  <c:v>1</c:v>
                </c:pt>
                <c:pt idx="56">
                  <c:v>7.5</c:v>
                </c:pt>
                <c:pt idx="57">
                  <c:v>1</c:v>
                </c:pt>
                <c:pt idx="58">
                  <c:v>5.5</c:v>
                </c:pt>
                <c:pt idx="59">
                  <c:v>1</c:v>
                </c:pt>
                <c:pt idx="60">
                  <c:v>5.5</c:v>
                </c:pt>
                <c:pt idx="61">
                  <c:v>1</c:v>
                </c:pt>
                <c:pt idx="62">
                  <c:v>4</c:v>
                </c:pt>
                <c:pt idx="63">
                  <c:v>5.5</c:v>
                </c:pt>
                <c:pt idx="64">
                  <c:v>1</c:v>
                </c:pt>
                <c:pt idx="65">
                  <c:v>5.5</c:v>
                </c:pt>
                <c:pt idx="66">
                  <c:v>1</c:v>
                </c:pt>
                <c:pt idx="67">
                  <c:v>5.5</c:v>
                </c:pt>
                <c:pt idx="68">
                  <c:v>1</c:v>
                </c:pt>
                <c:pt idx="69">
                  <c:v>5.5</c:v>
                </c:pt>
                <c:pt idx="70">
                  <c:v>14</c:v>
                </c:pt>
                <c:pt idx="71">
                  <c:v>5.5</c:v>
                </c:pt>
                <c:pt idx="72">
                  <c:v>4</c:v>
                </c:pt>
                <c:pt idx="73">
                  <c:v>5.5</c:v>
                </c:pt>
                <c:pt idx="74">
                  <c:v>4</c:v>
                </c:pt>
                <c:pt idx="75">
                  <c:v>5.5</c:v>
                </c:pt>
                <c:pt idx="76">
                  <c:v>2</c:v>
                </c:pt>
                <c:pt idx="77">
                  <c:v>4</c:v>
                </c:pt>
                <c:pt idx="78">
                  <c:v>5.5</c:v>
                </c:pt>
                <c:pt idx="79">
                  <c:v>2</c:v>
                </c:pt>
                <c:pt idx="80">
                  <c:v>6</c:v>
                </c:pt>
                <c:pt idx="81">
                  <c:v>5.5</c:v>
                </c:pt>
                <c:pt idx="82">
                  <c:v>2</c:v>
                </c:pt>
                <c:pt idx="83">
                  <c:v>5.5</c:v>
                </c:pt>
                <c:pt idx="84">
                  <c:v>5.5</c:v>
                </c:pt>
                <c:pt idx="85">
                  <c:v>5.5</c:v>
                </c:pt>
                <c:pt idx="86">
                  <c:v>2</c:v>
                </c:pt>
                <c:pt idx="87">
                  <c:v>5.5</c:v>
                </c:pt>
                <c:pt idx="88">
                  <c:v>5.5</c:v>
                </c:pt>
                <c:pt idx="89">
                  <c:v>14</c:v>
                </c:pt>
                <c:pt idx="90">
                  <c:v>5.5</c:v>
                </c:pt>
                <c:pt idx="91">
                  <c:v>5.5</c:v>
                </c:pt>
                <c:pt idx="92">
                  <c:v>6</c:v>
                </c:pt>
                <c:pt idx="93">
                  <c:v>5.5</c:v>
                </c:pt>
                <c:pt idx="94">
                  <c:v>6</c:v>
                </c:pt>
                <c:pt idx="95">
                  <c:v>5.5</c:v>
                </c:pt>
                <c:pt idx="96">
                  <c:v>5.5</c:v>
                </c:pt>
                <c:pt idx="97">
                  <c:v>8</c:v>
                </c:pt>
                <c:pt idx="98">
                  <c:v>5.5</c:v>
                </c:pt>
                <c:pt idx="99">
                  <c:v>2</c:v>
                </c:pt>
                <c:pt idx="100">
                  <c:v>6</c:v>
                </c:pt>
                <c:pt idx="101">
                  <c:v>5.5</c:v>
                </c:pt>
                <c:pt idx="102">
                  <c:v>6</c:v>
                </c:pt>
                <c:pt idx="103">
                  <c:v>5.5</c:v>
                </c:pt>
                <c:pt idx="104">
                  <c:v>5.5</c:v>
                </c:pt>
                <c:pt idx="105">
                  <c:v>6</c:v>
                </c:pt>
                <c:pt idx="106">
                  <c:v>5.5</c:v>
                </c:pt>
                <c:pt idx="107">
                  <c:v>6</c:v>
                </c:pt>
                <c:pt idx="108">
                  <c:v>5.5</c:v>
                </c:pt>
                <c:pt idx="109">
                  <c:v>2</c:v>
                </c:pt>
                <c:pt idx="110">
                  <c:v>5.5</c:v>
                </c:pt>
                <c:pt idx="111">
                  <c:v>2</c:v>
                </c:pt>
                <c:pt idx="112">
                  <c:v>5</c:v>
                </c:pt>
                <c:pt idx="113">
                  <c:v>2</c:v>
                </c:pt>
                <c:pt idx="114">
                  <c:v>2</c:v>
                </c:pt>
                <c:pt idx="115">
                  <c:v>5.5</c:v>
                </c:pt>
                <c:pt idx="116">
                  <c:v>2</c:v>
                </c:pt>
                <c:pt idx="117">
                  <c:v>11.5</c:v>
                </c:pt>
                <c:pt idx="118">
                  <c:v>5.5</c:v>
                </c:pt>
                <c:pt idx="119">
                  <c:v>2</c:v>
                </c:pt>
                <c:pt idx="120">
                  <c:v>11</c:v>
                </c:pt>
                <c:pt idx="121">
                  <c:v>5.5</c:v>
                </c:pt>
                <c:pt idx="122">
                  <c:v>2</c:v>
                </c:pt>
                <c:pt idx="123">
                  <c:v>2</c:v>
                </c:pt>
                <c:pt idx="124">
                  <c:v>5.5</c:v>
                </c:pt>
                <c:pt idx="125">
                  <c:v>5.5</c:v>
                </c:pt>
                <c:pt idx="126">
                  <c:v>5.5</c:v>
                </c:pt>
                <c:pt idx="127">
                  <c:v>5.5</c:v>
                </c:pt>
                <c:pt idx="128">
                  <c:v>5.5</c:v>
                </c:pt>
                <c:pt idx="129">
                  <c:v>5.5</c:v>
                </c:pt>
                <c:pt idx="130">
                  <c:v>5.5</c:v>
                </c:pt>
                <c:pt idx="131">
                  <c:v>5.5</c:v>
                </c:pt>
                <c:pt idx="132">
                  <c:v>5.5</c:v>
                </c:pt>
                <c:pt idx="133">
                  <c:v>5.5</c:v>
                </c:pt>
                <c:pt idx="134">
                  <c:v>5.5</c:v>
                </c:pt>
                <c:pt idx="135">
                  <c:v>7.5</c:v>
                </c:pt>
                <c:pt idx="136">
                  <c:v>5.5</c:v>
                </c:pt>
                <c:pt idx="137">
                  <c:v>5.5</c:v>
                </c:pt>
                <c:pt idx="138">
                  <c:v>16</c:v>
                </c:pt>
                <c:pt idx="139">
                  <c:v>8</c:v>
                </c:pt>
              </c:numCache>
            </c:numRef>
          </c:xVal>
          <c:yVal>
            <c:numRef>
              <c:f>Sheet1!$B$2:$B$141</c:f>
              <c:numCache>
                <c:formatCode>General</c:formatCode>
                <c:ptCount val="14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4.0487285410525882E-2</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2.6039775730140859E-2</c:v>
                </c:pt>
                <c:pt idx="52">
                  <c:v>0.13263436918561239</c:v>
                </c:pt>
                <c:pt idx="53">
                  <c:v>0.13587093257650229</c:v>
                </c:pt>
                <c:pt idx="54">
                  <c:v>0</c:v>
                </c:pt>
                <c:pt idx="55">
                  <c:v>0.1014771618985696</c:v>
                </c:pt>
                <c:pt idx="56">
                  <c:v>0</c:v>
                </c:pt>
                <c:pt idx="57">
                  <c:v>0.22680211279878809</c:v>
                </c:pt>
                <c:pt idx="58">
                  <c:v>0</c:v>
                </c:pt>
                <c:pt idx="59">
                  <c:v>0.18786299617503269</c:v>
                </c:pt>
                <c:pt idx="60">
                  <c:v>0</c:v>
                </c:pt>
                <c:pt idx="61">
                  <c:v>0.13604560749668199</c:v>
                </c:pt>
                <c:pt idx="62">
                  <c:v>0</c:v>
                </c:pt>
                <c:pt idx="63">
                  <c:v>0</c:v>
                </c:pt>
                <c:pt idx="64">
                  <c:v>0.20910067712132019</c:v>
                </c:pt>
                <c:pt idx="65">
                  <c:v>0</c:v>
                </c:pt>
                <c:pt idx="66">
                  <c:v>0.16867160794838021</c:v>
                </c:pt>
                <c:pt idx="67">
                  <c:v>0</c:v>
                </c:pt>
                <c:pt idx="68">
                  <c:v>9.6960278752240732E-3</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27296962627611893</c:v>
                </c:pt>
                <c:pt idx="118">
                  <c:v>0</c:v>
                </c:pt>
                <c:pt idx="119">
                  <c:v>0</c:v>
                </c:pt>
                <c:pt idx="120">
                  <c:v>0.17453825430309389</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15649360016511971</c:v>
                </c:pt>
                <c:pt idx="139">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766903962365515E-2</c:v>
                </c:pt>
                <c:pt idx="1">
                  <c:v>-1.7983837495581301E-2</c:v>
                </c:pt>
                <c:pt idx="2">
                  <c:v>-4.221284997340066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2</c:v>
                </c:pt>
                <c:pt idx="20">
                  <c:v>0.15</c:v>
                </c:pt>
                <c:pt idx="21">
                  <c:v>0</c:v>
                </c:pt>
                <c:pt idx="22">
                  <c:v>0</c:v>
                </c:pt>
                <c:pt idx="23">
                  <c:v>0.25</c:v>
                </c:pt>
                <c:pt idx="24">
                  <c:v>0.2</c:v>
                </c:pt>
                <c:pt idx="25">
                  <c:v>0</c:v>
                </c:pt>
                <c:pt idx="26">
                  <c:v>0.65</c:v>
                </c:pt>
                <c:pt idx="27">
                  <c:v>0.70000000000000007</c:v>
                </c:pt>
                <c:pt idx="28">
                  <c:v>0.70000000000000007</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2</c:v>
                </c:pt>
                <c:pt idx="20">
                  <c:v>15</c:v>
                </c:pt>
                <c:pt idx="21">
                  <c:v>15</c:v>
                </c:pt>
                <c:pt idx="22">
                  <c:v>15</c:v>
                </c:pt>
                <c:pt idx="23">
                  <c:v>11.5</c:v>
                </c:pt>
                <c:pt idx="24">
                  <c:v>14</c:v>
                </c:pt>
                <c:pt idx="25">
                  <c:v>15</c:v>
                </c:pt>
                <c:pt idx="26">
                  <c:v>5</c:v>
                </c:pt>
                <c:pt idx="27">
                  <c:v>4.5</c:v>
                </c:pt>
                <c:pt idx="28">
                  <c:v>4.5</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0</c:v>
                </c:pt>
                <c:pt idx="1">
                  <c:v>0.4</c:v>
                </c:pt>
                <c:pt idx="2">
                  <c:v>0</c:v>
                </c:pt>
                <c:pt idx="3">
                  <c:v>0.4</c:v>
                </c:pt>
                <c:pt idx="4">
                  <c:v>0.15</c:v>
                </c:pt>
                <c:pt idx="5">
                  <c:v>0.2</c:v>
                </c:pt>
                <c:pt idx="6">
                  <c:v>0.05</c:v>
                </c:pt>
                <c:pt idx="7">
                  <c:v>0.2</c:v>
                </c:pt>
                <c:pt idx="8">
                  <c:v>0.4</c:v>
                </c:pt>
                <c:pt idx="9">
                  <c:v>0.4</c:v>
                </c:pt>
                <c:pt idx="10">
                  <c:v>0.45</c:v>
                </c:pt>
                <c:pt idx="11">
                  <c:v>0.60000000000000009</c:v>
                </c:pt>
                <c:pt idx="12">
                  <c:v>0.70000000000000007</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25</c:v>
                </c:pt>
                <c:pt idx="1">
                  <c:v>15.5</c:v>
                </c:pt>
                <c:pt idx="2">
                  <c:v>25</c:v>
                </c:pt>
                <c:pt idx="3">
                  <c:v>15.5</c:v>
                </c:pt>
                <c:pt idx="4">
                  <c:v>21.5</c:v>
                </c:pt>
                <c:pt idx="5">
                  <c:v>20</c:v>
                </c:pt>
                <c:pt idx="6">
                  <c:v>23.5</c:v>
                </c:pt>
                <c:pt idx="7">
                  <c:v>20</c:v>
                </c:pt>
                <c:pt idx="8">
                  <c:v>15</c:v>
                </c:pt>
                <c:pt idx="9">
                  <c:v>15</c:v>
                </c:pt>
                <c:pt idx="10">
                  <c:v>13.5</c:v>
                </c:pt>
                <c:pt idx="11">
                  <c:v>9.5</c:v>
                </c:pt>
                <c:pt idx="12">
                  <c:v>7.5</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62</c:f>
              <c:numCache>
                <c:formatCode>General</c:formatCode>
                <c:ptCount val="161"/>
                <c:pt idx="0">
                  <c:v>0</c:v>
                </c:pt>
                <c:pt idx="1">
                  <c:v>0.55000000000000004</c:v>
                </c:pt>
                <c:pt idx="2">
                  <c:v>0.05</c:v>
                </c:pt>
                <c:pt idx="3">
                  <c:v>0.05</c:v>
                </c:pt>
                <c:pt idx="4">
                  <c:v>0.05</c:v>
                </c:pt>
                <c:pt idx="5">
                  <c:v>0.05</c:v>
                </c:pt>
                <c:pt idx="6">
                  <c:v>0.05</c:v>
                </c:pt>
                <c:pt idx="7">
                  <c:v>0.25</c:v>
                </c:pt>
                <c:pt idx="8">
                  <c:v>0.05</c:v>
                </c:pt>
                <c:pt idx="9">
                  <c:v>0.1</c:v>
                </c:pt>
                <c:pt idx="10">
                  <c:v>0</c:v>
                </c:pt>
                <c:pt idx="11">
                  <c:v>0</c:v>
                </c:pt>
                <c:pt idx="12">
                  <c:v>0.05</c:v>
                </c:pt>
                <c:pt idx="13">
                  <c:v>0.05</c:v>
                </c:pt>
                <c:pt idx="14">
                  <c:v>0.15</c:v>
                </c:pt>
                <c:pt idx="15">
                  <c:v>0.05</c:v>
                </c:pt>
                <c:pt idx="16">
                  <c:v>0.1</c:v>
                </c:pt>
                <c:pt idx="17">
                  <c:v>0</c:v>
                </c:pt>
                <c:pt idx="18">
                  <c:v>0.05</c:v>
                </c:pt>
                <c:pt idx="19">
                  <c:v>0.4</c:v>
                </c:pt>
                <c:pt idx="20">
                  <c:v>0</c:v>
                </c:pt>
                <c:pt idx="21">
                  <c:v>0.1</c:v>
                </c:pt>
                <c:pt idx="22">
                  <c:v>0.2</c:v>
                </c:pt>
                <c:pt idx="23">
                  <c:v>0.05</c:v>
                </c:pt>
                <c:pt idx="24">
                  <c:v>0</c:v>
                </c:pt>
                <c:pt idx="25">
                  <c:v>0.05</c:v>
                </c:pt>
                <c:pt idx="26">
                  <c:v>0.3</c:v>
                </c:pt>
                <c:pt idx="27">
                  <c:v>0.1</c:v>
                </c:pt>
                <c:pt idx="28">
                  <c:v>0</c:v>
                </c:pt>
                <c:pt idx="29">
                  <c:v>0.05</c:v>
                </c:pt>
                <c:pt idx="30">
                  <c:v>0.1</c:v>
                </c:pt>
                <c:pt idx="31">
                  <c:v>0.05</c:v>
                </c:pt>
                <c:pt idx="32">
                  <c:v>0</c:v>
                </c:pt>
                <c:pt idx="33">
                  <c:v>0.15</c:v>
                </c:pt>
                <c:pt idx="34">
                  <c:v>0.3</c:v>
                </c:pt>
                <c:pt idx="35">
                  <c:v>0.1</c:v>
                </c:pt>
                <c:pt idx="36">
                  <c:v>0</c:v>
                </c:pt>
                <c:pt idx="37">
                  <c:v>0.05</c:v>
                </c:pt>
                <c:pt idx="38">
                  <c:v>0.2</c:v>
                </c:pt>
                <c:pt idx="39">
                  <c:v>0.05</c:v>
                </c:pt>
                <c:pt idx="40">
                  <c:v>0</c:v>
                </c:pt>
                <c:pt idx="41">
                  <c:v>0.1</c:v>
                </c:pt>
                <c:pt idx="42">
                  <c:v>0</c:v>
                </c:pt>
                <c:pt idx="43">
                  <c:v>0</c:v>
                </c:pt>
                <c:pt idx="44">
                  <c:v>0</c:v>
                </c:pt>
                <c:pt idx="45">
                  <c:v>0.15</c:v>
                </c:pt>
                <c:pt idx="46">
                  <c:v>0</c:v>
                </c:pt>
                <c:pt idx="47">
                  <c:v>0</c:v>
                </c:pt>
                <c:pt idx="48">
                  <c:v>0.5</c:v>
                </c:pt>
                <c:pt idx="49">
                  <c:v>0.65</c:v>
                </c:pt>
                <c:pt idx="50">
                  <c:v>0.60000000000000009</c:v>
                </c:pt>
                <c:pt idx="51">
                  <c:v>0</c:v>
                </c:pt>
                <c:pt idx="52">
                  <c:v>0.55000000000000004</c:v>
                </c:pt>
                <c:pt idx="53">
                  <c:v>0.65</c:v>
                </c:pt>
                <c:pt idx="54">
                  <c:v>0.60000000000000009</c:v>
                </c:pt>
                <c:pt idx="55">
                  <c:v>0.4</c:v>
                </c:pt>
                <c:pt idx="56">
                  <c:v>0.35</c:v>
                </c:pt>
                <c:pt idx="57">
                  <c:v>0.1</c:v>
                </c:pt>
                <c:pt idx="58">
                  <c:v>0</c:v>
                </c:pt>
                <c:pt idx="59">
                  <c:v>0.15</c:v>
                </c:pt>
                <c:pt idx="60">
                  <c:v>0</c:v>
                </c:pt>
                <c:pt idx="61">
                  <c:v>0.15</c:v>
                </c:pt>
                <c:pt idx="62">
                  <c:v>0.1</c:v>
                </c:pt>
                <c:pt idx="63">
                  <c:v>0</c:v>
                </c:pt>
                <c:pt idx="64">
                  <c:v>0.15</c:v>
                </c:pt>
                <c:pt idx="65">
                  <c:v>0.1</c:v>
                </c:pt>
                <c:pt idx="66">
                  <c:v>0</c:v>
                </c:pt>
                <c:pt idx="67">
                  <c:v>0.15</c:v>
                </c:pt>
                <c:pt idx="68">
                  <c:v>0.1</c:v>
                </c:pt>
                <c:pt idx="69">
                  <c:v>0</c:v>
                </c:pt>
                <c:pt idx="70">
                  <c:v>0.05</c:v>
                </c:pt>
                <c:pt idx="71">
                  <c:v>0</c:v>
                </c:pt>
                <c:pt idx="72">
                  <c:v>0.15</c:v>
                </c:pt>
                <c:pt idx="73">
                  <c:v>0</c:v>
                </c:pt>
                <c:pt idx="74">
                  <c:v>0.05</c:v>
                </c:pt>
                <c:pt idx="75">
                  <c:v>0</c:v>
                </c:pt>
                <c:pt idx="76">
                  <c:v>0.2</c:v>
                </c:pt>
                <c:pt idx="77">
                  <c:v>0</c:v>
                </c:pt>
                <c:pt idx="78">
                  <c:v>0.1</c:v>
                </c:pt>
                <c:pt idx="79">
                  <c:v>0</c:v>
                </c:pt>
                <c:pt idx="80">
                  <c:v>0.1</c:v>
                </c:pt>
                <c:pt idx="81">
                  <c:v>0.05</c:v>
                </c:pt>
                <c:pt idx="82">
                  <c:v>0</c:v>
                </c:pt>
                <c:pt idx="83">
                  <c:v>0.1</c:v>
                </c:pt>
                <c:pt idx="84">
                  <c:v>0</c:v>
                </c:pt>
                <c:pt idx="85">
                  <c:v>0</c:v>
                </c:pt>
                <c:pt idx="86">
                  <c:v>0.1</c:v>
                </c:pt>
                <c:pt idx="87">
                  <c:v>0.05</c:v>
                </c:pt>
                <c:pt idx="88">
                  <c:v>0</c:v>
                </c:pt>
                <c:pt idx="89">
                  <c:v>0.1</c:v>
                </c:pt>
                <c:pt idx="90">
                  <c:v>0.05</c:v>
                </c:pt>
                <c:pt idx="91">
                  <c:v>0</c:v>
                </c:pt>
                <c:pt idx="92">
                  <c:v>0.1</c:v>
                </c:pt>
                <c:pt idx="93">
                  <c:v>0.2</c:v>
                </c:pt>
                <c:pt idx="94">
                  <c:v>0</c:v>
                </c:pt>
                <c:pt idx="95">
                  <c:v>0.15</c:v>
                </c:pt>
                <c:pt idx="96">
                  <c:v>0.15</c:v>
                </c:pt>
                <c:pt idx="97">
                  <c:v>0</c:v>
                </c:pt>
                <c:pt idx="98">
                  <c:v>0.1</c:v>
                </c:pt>
                <c:pt idx="99">
                  <c:v>0.3</c:v>
                </c:pt>
                <c:pt idx="100">
                  <c:v>0</c:v>
                </c:pt>
                <c:pt idx="101">
                  <c:v>0.2</c:v>
                </c:pt>
                <c:pt idx="102">
                  <c:v>0.2</c:v>
                </c:pt>
                <c:pt idx="103">
                  <c:v>0</c:v>
                </c:pt>
                <c:pt idx="104">
                  <c:v>0.1</c:v>
                </c:pt>
                <c:pt idx="105">
                  <c:v>0.25</c:v>
                </c:pt>
                <c:pt idx="106">
                  <c:v>0</c:v>
                </c:pt>
                <c:pt idx="107">
                  <c:v>0.1</c:v>
                </c:pt>
                <c:pt idx="108">
                  <c:v>0.15</c:v>
                </c:pt>
                <c:pt idx="109">
                  <c:v>0</c:v>
                </c:pt>
                <c:pt idx="110">
                  <c:v>0.1</c:v>
                </c:pt>
                <c:pt idx="111">
                  <c:v>0.15</c:v>
                </c:pt>
                <c:pt idx="112">
                  <c:v>0</c:v>
                </c:pt>
                <c:pt idx="113">
                  <c:v>0.15</c:v>
                </c:pt>
                <c:pt idx="114">
                  <c:v>0.1</c:v>
                </c:pt>
                <c:pt idx="115">
                  <c:v>0</c:v>
                </c:pt>
                <c:pt idx="116">
                  <c:v>0.15</c:v>
                </c:pt>
                <c:pt idx="117">
                  <c:v>0.1</c:v>
                </c:pt>
                <c:pt idx="118">
                  <c:v>0</c:v>
                </c:pt>
                <c:pt idx="119">
                  <c:v>0.1</c:v>
                </c:pt>
                <c:pt idx="120">
                  <c:v>0.1</c:v>
                </c:pt>
                <c:pt idx="121">
                  <c:v>0</c:v>
                </c:pt>
                <c:pt idx="122">
                  <c:v>0.15</c:v>
                </c:pt>
                <c:pt idx="123">
                  <c:v>0.1</c:v>
                </c:pt>
                <c:pt idx="124">
                  <c:v>0</c:v>
                </c:pt>
                <c:pt idx="125">
                  <c:v>0.15</c:v>
                </c:pt>
                <c:pt idx="126">
                  <c:v>0</c:v>
                </c:pt>
                <c:pt idx="127">
                  <c:v>0.3</c:v>
                </c:pt>
                <c:pt idx="128">
                  <c:v>0</c:v>
                </c:pt>
                <c:pt idx="129">
                  <c:v>0.15</c:v>
                </c:pt>
                <c:pt idx="130">
                  <c:v>0</c:v>
                </c:pt>
                <c:pt idx="131">
                  <c:v>0.1</c:v>
                </c:pt>
                <c:pt idx="132">
                  <c:v>0</c:v>
                </c:pt>
                <c:pt idx="133">
                  <c:v>0.15</c:v>
                </c:pt>
                <c:pt idx="134">
                  <c:v>0</c:v>
                </c:pt>
                <c:pt idx="135">
                  <c:v>0.1</c:v>
                </c:pt>
                <c:pt idx="136">
                  <c:v>0</c:v>
                </c:pt>
                <c:pt idx="137">
                  <c:v>0</c:v>
                </c:pt>
                <c:pt idx="138">
                  <c:v>0.05</c:v>
                </c:pt>
                <c:pt idx="139">
                  <c:v>0</c:v>
                </c:pt>
                <c:pt idx="140">
                  <c:v>0.1</c:v>
                </c:pt>
                <c:pt idx="141">
                  <c:v>0</c:v>
                </c:pt>
                <c:pt idx="142">
                  <c:v>0</c:v>
                </c:pt>
                <c:pt idx="143">
                  <c:v>0</c:v>
                </c:pt>
                <c:pt idx="144">
                  <c:v>0.1</c:v>
                </c:pt>
                <c:pt idx="145">
                  <c:v>0</c:v>
                </c:pt>
                <c:pt idx="146">
                  <c:v>0.1</c:v>
                </c:pt>
                <c:pt idx="147">
                  <c:v>0.35</c:v>
                </c:pt>
                <c:pt idx="148">
                  <c:v>0.1</c:v>
                </c:pt>
                <c:pt idx="149">
                  <c:v>0</c:v>
                </c:pt>
                <c:pt idx="150">
                  <c:v>0.1</c:v>
                </c:pt>
                <c:pt idx="151">
                  <c:v>0.4</c:v>
                </c:pt>
                <c:pt idx="152">
                  <c:v>0.3</c:v>
                </c:pt>
                <c:pt idx="153">
                  <c:v>0.1</c:v>
                </c:pt>
                <c:pt idx="154">
                  <c:v>0.05</c:v>
                </c:pt>
                <c:pt idx="155">
                  <c:v>0</c:v>
                </c:pt>
                <c:pt idx="156">
                  <c:v>0.05</c:v>
                </c:pt>
                <c:pt idx="157">
                  <c:v>0</c:v>
                </c:pt>
                <c:pt idx="158">
                  <c:v>0</c:v>
                </c:pt>
                <c:pt idx="159">
                  <c:v>0.05</c:v>
                </c:pt>
                <c:pt idx="160">
                  <c:v>0.2</c:v>
                </c:pt>
              </c:numCache>
            </c:numRef>
          </c:xVal>
          <c:yVal>
            <c:numRef>
              <c:f>Sheet1!$B$2:$B$162</c:f>
              <c:numCache>
                <c:formatCode>General</c:formatCode>
                <c:ptCount val="16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66535516966160668</c:v>
                </c:pt>
                <c:pt idx="49">
                  <c:v>0.87388193202146691</c:v>
                </c:pt>
                <c:pt idx="50">
                  <c:v>0.58664971314511916</c:v>
                </c:pt>
                <c:pt idx="51">
                  <c:v>0</c:v>
                </c:pt>
                <c:pt idx="52">
                  <c:v>0.35411594345179648</c:v>
                </c:pt>
                <c:pt idx="53">
                  <c:v>0.40657113909393539</c:v>
                </c:pt>
                <c:pt idx="54">
                  <c:v>0.53240658421394194</c:v>
                </c:pt>
                <c:pt idx="55">
                  <c:v>6.6735813081228716</c:v>
                </c:pt>
                <c:pt idx="56">
                  <c:v>0</c:v>
                </c:pt>
                <c:pt idx="57">
                  <c:v>3.6064811690697382E-3</c:v>
                </c:pt>
                <c:pt idx="58">
                  <c:v>0</c:v>
                </c:pt>
                <c:pt idx="59">
                  <c:v>0</c:v>
                </c:pt>
                <c:pt idx="60">
                  <c:v>0</c:v>
                </c:pt>
                <c:pt idx="61">
                  <c:v>0</c:v>
                </c:pt>
                <c:pt idx="62">
                  <c:v>0.18428223887646261</c:v>
                </c:pt>
                <c:pt idx="63">
                  <c:v>0</c:v>
                </c:pt>
                <c:pt idx="64">
                  <c:v>0</c:v>
                </c:pt>
                <c:pt idx="65">
                  <c:v>4.4485855792578528E-2</c:v>
                </c:pt>
                <c:pt idx="66">
                  <c:v>0</c:v>
                </c:pt>
                <c:pt idx="67">
                  <c:v>0</c:v>
                </c:pt>
                <c:pt idx="68">
                  <c:v>1.074536469066999E-2</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1.208548268238762E-2</c:v>
                </c:pt>
                <c:pt idx="139">
                  <c:v>0</c:v>
                </c:pt>
                <c:pt idx="140">
                  <c:v>0</c:v>
                </c:pt>
                <c:pt idx="141">
                  <c:v>0</c:v>
                </c:pt>
                <c:pt idx="142">
                  <c:v>0</c:v>
                </c:pt>
                <c:pt idx="143">
                  <c:v>0</c:v>
                </c:pt>
                <c:pt idx="144">
                  <c:v>4.4286341356353787E-2</c:v>
                </c:pt>
                <c:pt idx="145">
                  <c:v>0</c:v>
                </c:pt>
                <c:pt idx="146">
                  <c:v>9.5030221921740862E-2</c:v>
                </c:pt>
                <c:pt idx="147">
                  <c:v>8.4190832553788592E-2</c:v>
                </c:pt>
                <c:pt idx="148">
                  <c:v>1.9414048711613129E-2</c:v>
                </c:pt>
                <c:pt idx="149">
                  <c:v>0</c:v>
                </c:pt>
                <c:pt idx="150">
                  <c:v>0.15755358841173461</c:v>
                </c:pt>
                <c:pt idx="151">
                  <c:v>0.15608959402706479</c:v>
                </c:pt>
                <c:pt idx="152">
                  <c:v>7.0868639048581716</c:v>
                </c:pt>
                <c:pt idx="153">
                  <c:v>2.6271937311515919E-3</c:v>
                </c:pt>
                <c:pt idx="154">
                  <c:v>1.6755574253260411E-2</c:v>
                </c:pt>
                <c:pt idx="155">
                  <c:v>0</c:v>
                </c:pt>
                <c:pt idx="156">
                  <c:v>0</c:v>
                </c:pt>
                <c:pt idx="157">
                  <c:v>0</c:v>
                </c:pt>
                <c:pt idx="158">
                  <c:v>0</c:v>
                </c:pt>
                <c:pt idx="159">
                  <c:v>0</c:v>
                </c:pt>
                <c:pt idx="160">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62</c:f>
              <c:numCache>
                <c:formatCode>General</c:formatCode>
                <c:ptCount val="161"/>
                <c:pt idx="0">
                  <c:v>14</c:v>
                </c:pt>
                <c:pt idx="1">
                  <c:v>13.5</c:v>
                </c:pt>
                <c:pt idx="2">
                  <c:v>9.5</c:v>
                </c:pt>
                <c:pt idx="3">
                  <c:v>13</c:v>
                </c:pt>
                <c:pt idx="4">
                  <c:v>27.5</c:v>
                </c:pt>
                <c:pt idx="5">
                  <c:v>9.5</c:v>
                </c:pt>
                <c:pt idx="6">
                  <c:v>13</c:v>
                </c:pt>
                <c:pt idx="7">
                  <c:v>21.5</c:v>
                </c:pt>
                <c:pt idx="8">
                  <c:v>9.5</c:v>
                </c:pt>
                <c:pt idx="9">
                  <c:v>12.5</c:v>
                </c:pt>
                <c:pt idx="10">
                  <c:v>29.5</c:v>
                </c:pt>
                <c:pt idx="11">
                  <c:v>10</c:v>
                </c:pt>
                <c:pt idx="12">
                  <c:v>13.5</c:v>
                </c:pt>
                <c:pt idx="13">
                  <c:v>27.5</c:v>
                </c:pt>
                <c:pt idx="14">
                  <c:v>8.5</c:v>
                </c:pt>
                <c:pt idx="15">
                  <c:v>13.5</c:v>
                </c:pt>
                <c:pt idx="16">
                  <c:v>27</c:v>
                </c:pt>
                <c:pt idx="17">
                  <c:v>10</c:v>
                </c:pt>
                <c:pt idx="18">
                  <c:v>13.5</c:v>
                </c:pt>
                <c:pt idx="19">
                  <c:v>18</c:v>
                </c:pt>
                <c:pt idx="20">
                  <c:v>10</c:v>
                </c:pt>
                <c:pt idx="21">
                  <c:v>13</c:v>
                </c:pt>
                <c:pt idx="22">
                  <c:v>24</c:v>
                </c:pt>
                <c:pt idx="23">
                  <c:v>9.5</c:v>
                </c:pt>
                <c:pt idx="24">
                  <c:v>10</c:v>
                </c:pt>
                <c:pt idx="25">
                  <c:v>13.5</c:v>
                </c:pt>
                <c:pt idx="26">
                  <c:v>20.5</c:v>
                </c:pt>
                <c:pt idx="27">
                  <c:v>9</c:v>
                </c:pt>
                <c:pt idx="28">
                  <c:v>10</c:v>
                </c:pt>
                <c:pt idx="29">
                  <c:v>13.5</c:v>
                </c:pt>
                <c:pt idx="30">
                  <c:v>27</c:v>
                </c:pt>
                <c:pt idx="31">
                  <c:v>9.5</c:v>
                </c:pt>
                <c:pt idx="32">
                  <c:v>10</c:v>
                </c:pt>
                <c:pt idx="33">
                  <c:v>12</c:v>
                </c:pt>
                <c:pt idx="34">
                  <c:v>21</c:v>
                </c:pt>
                <c:pt idx="35">
                  <c:v>9</c:v>
                </c:pt>
                <c:pt idx="36">
                  <c:v>10</c:v>
                </c:pt>
                <c:pt idx="37">
                  <c:v>13.5</c:v>
                </c:pt>
                <c:pt idx="38">
                  <c:v>23.5</c:v>
                </c:pt>
                <c:pt idx="39">
                  <c:v>9.5</c:v>
                </c:pt>
                <c:pt idx="40">
                  <c:v>10</c:v>
                </c:pt>
                <c:pt idx="41">
                  <c:v>27.5</c:v>
                </c:pt>
                <c:pt idx="42">
                  <c:v>10</c:v>
                </c:pt>
                <c:pt idx="43">
                  <c:v>10</c:v>
                </c:pt>
                <c:pt idx="44">
                  <c:v>10</c:v>
                </c:pt>
                <c:pt idx="45">
                  <c:v>8.5</c:v>
                </c:pt>
                <c:pt idx="46">
                  <c:v>10</c:v>
                </c:pt>
                <c:pt idx="47">
                  <c:v>10</c:v>
                </c:pt>
                <c:pt idx="48">
                  <c:v>6.5</c:v>
                </c:pt>
                <c:pt idx="49">
                  <c:v>5</c:v>
                </c:pt>
                <c:pt idx="50">
                  <c:v>4</c:v>
                </c:pt>
                <c:pt idx="51">
                  <c:v>10</c:v>
                </c:pt>
                <c:pt idx="52">
                  <c:v>6</c:v>
                </c:pt>
                <c:pt idx="53">
                  <c:v>4.5</c:v>
                </c:pt>
                <c:pt idx="54">
                  <c:v>4</c:v>
                </c:pt>
                <c:pt idx="55">
                  <c:v>6</c:v>
                </c:pt>
                <c:pt idx="56">
                  <c:v>6.5</c:v>
                </c:pt>
                <c:pt idx="57">
                  <c:v>27</c:v>
                </c:pt>
                <c:pt idx="58">
                  <c:v>15</c:v>
                </c:pt>
                <c:pt idx="59">
                  <c:v>8.5</c:v>
                </c:pt>
                <c:pt idx="60">
                  <c:v>15</c:v>
                </c:pt>
                <c:pt idx="61">
                  <c:v>8.5</c:v>
                </c:pt>
                <c:pt idx="62">
                  <c:v>27</c:v>
                </c:pt>
                <c:pt idx="63">
                  <c:v>15</c:v>
                </c:pt>
                <c:pt idx="64">
                  <c:v>8.5</c:v>
                </c:pt>
                <c:pt idx="65">
                  <c:v>27</c:v>
                </c:pt>
                <c:pt idx="66">
                  <c:v>15</c:v>
                </c:pt>
                <c:pt idx="67">
                  <c:v>8.5</c:v>
                </c:pt>
                <c:pt idx="68">
                  <c:v>27</c:v>
                </c:pt>
                <c:pt idx="69">
                  <c:v>15</c:v>
                </c:pt>
                <c:pt idx="70">
                  <c:v>9.5</c:v>
                </c:pt>
                <c:pt idx="71">
                  <c:v>15</c:v>
                </c:pt>
                <c:pt idx="72">
                  <c:v>8.5</c:v>
                </c:pt>
                <c:pt idx="73">
                  <c:v>15</c:v>
                </c:pt>
                <c:pt idx="74">
                  <c:v>9</c:v>
                </c:pt>
                <c:pt idx="75">
                  <c:v>15</c:v>
                </c:pt>
                <c:pt idx="76">
                  <c:v>8</c:v>
                </c:pt>
                <c:pt idx="77">
                  <c:v>15</c:v>
                </c:pt>
                <c:pt idx="78">
                  <c:v>8.5</c:v>
                </c:pt>
                <c:pt idx="79">
                  <c:v>15</c:v>
                </c:pt>
                <c:pt idx="80">
                  <c:v>9</c:v>
                </c:pt>
                <c:pt idx="81">
                  <c:v>26.5</c:v>
                </c:pt>
                <c:pt idx="82">
                  <c:v>15</c:v>
                </c:pt>
                <c:pt idx="83">
                  <c:v>9</c:v>
                </c:pt>
                <c:pt idx="84">
                  <c:v>26.5</c:v>
                </c:pt>
                <c:pt idx="85">
                  <c:v>15</c:v>
                </c:pt>
                <c:pt idx="86">
                  <c:v>9</c:v>
                </c:pt>
                <c:pt idx="87">
                  <c:v>25.5</c:v>
                </c:pt>
                <c:pt idx="88">
                  <c:v>15</c:v>
                </c:pt>
                <c:pt idx="89">
                  <c:v>9</c:v>
                </c:pt>
                <c:pt idx="90">
                  <c:v>26</c:v>
                </c:pt>
                <c:pt idx="91">
                  <c:v>15</c:v>
                </c:pt>
                <c:pt idx="92">
                  <c:v>9</c:v>
                </c:pt>
                <c:pt idx="93">
                  <c:v>21</c:v>
                </c:pt>
                <c:pt idx="94">
                  <c:v>15</c:v>
                </c:pt>
                <c:pt idx="95">
                  <c:v>8.5</c:v>
                </c:pt>
                <c:pt idx="96">
                  <c:v>23</c:v>
                </c:pt>
                <c:pt idx="97">
                  <c:v>15</c:v>
                </c:pt>
                <c:pt idx="98">
                  <c:v>9</c:v>
                </c:pt>
                <c:pt idx="99">
                  <c:v>19.5</c:v>
                </c:pt>
                <c:pt idx="100">
                  <c:v>15</c:v>
                </c:pt>
                <c:pt idx="101">
                  <c:v>8</c:v>
                </c:pt>
                <c:pt idx="102">
                  <c:v>22</c:v>
                </c:pt>
                <c:pt idx="103">
                  <c:v>15</c:v>
                </c:pt>
                <c:pt idx="104">
                  <c:v>9</c:v>
                </c:pt>
                <c:pt idx="105">
                  <c:v>20.5</c:v>
                </c:pt>
                <c:pt idx="106">
                  <c:v>15</c:v>
                </c:pt>
                <c:pt idx="107">
                  <c:v>9</c:v>
                </c:pt>
                <c:pt idx="108">
                  <c:v>23.5</c:v>
                </c:pt>
                <c:pt idx="109">
                  <c:v>15</c:v>
                </c:pt>
                <c:pt idx="110">
                  <c:v>9</c:v>
                </c:pt>
                <c:pt idx="111">
                  <c:v>22.5</c:v>
                </c:pt>
                <c:pt idx="112">
                  <c:v>15</c:v>
                </c:pt>
                <c:pt idx="113">
                  <c:v>8.5</c:v>
                </c:pt>
                <c:pt idx="114">
                  <c:v>24.5</c:v>
                </c:pt>
                <c:pt idx="115">
                  <c:v>15</c:v>
                </c:pt>
                <c:pt idx="116">
                  <c:v>8.5</c:v>
                </c:pt>
                <c:pt idx="117">
                  <c:v>24</c:v>
                </c:pt>
                <c:pt idx="118">
                  <c:v>15</c:v>
                </c:pt>
                <c:pt idx="119">
                  <c:v>9</c:v>
                </c:pt>
                <c:pt idx="120">
                  <c:v>24.5</c:v>
                </c:pt>
                <c:pt idx="121">
                  <c:v>15</c:v>
                </c:pt>
                <c:pt idx="122">
                  <c:v>8.5</c:v>
                </c:pt>
                <c:pt idx="123">
                  <c:v>24.5</c:v>
                </c:pt>
                <c:pt idx="124">
                  <c:v>15</c:v>
                </c:pt>
                <c:pt idx="125">
                  <c:v>8.5</c:v>
                </c:pt>
                <c:pt idx="126">
                  <c:v>10</c:v>
                </c:pt>
                <c:pt idx="127">
                  <c:v>19</c:v>
                </c:pt>
                <c:pt idx="128">
                  <c:v>15</c:v>
                </c:pt>
                <c:pt idx="129">
                  <c:v>8.5</c:v>
                </c:pt>
                <c:pt idx="130">
                  <c:v>10</c:v>
                </c:pt>
                <c:pt idx="131">
                  <c:v>24</c:v>
                </c:pt>
                <c:pt idx="132">
                  <c:v>15</c:v>
                </c:pt>
                <c:pt idx="133">
                  <c:v>8.5</c:v>
                </c:pt>
                <c:pt idx="134">
                  <c:v>10</c:v>
                </c:pt>
                <c:pt idx="135">
                  <c:v>24.5</c:v>
                </c:pt>
                <c:pt idx="136">
                  <c:v>10</c:v>
                </c:pt>
                <c:pt idx="137">
                  <c:v>10</c:v>
                </c:pt>
                <c:pt idx="138">
                  <c:v>14</c:v>
                </c:pt>
                <c:pt idx="139">
                  <c:v>10</c:v>
                </c:pt>
                <c:pt idx="140">
                  <c:v>24.5</c:v>
                </c:pt>
                <c:pt idx="141">
                  <c:v>10</c:v>
                </c:pt>
                <c:pt idx="142">
                  <c:v>10</c:v>
                </c:pt>
                <c:pt idx="143">
                  <c:v>10</c:v>
                </c:pt>
                <c:pt idx="144">
                  <c:v>24</c:v>
                </c:pt>
                <c:pt idx="145">
                  <c:v>10</c:v>
                </c:pt>
                <c:pt idx="146">
                  <c:v>24.5</c:v>
                </c:pt>
                <c:pt idx="147">
                  <c:v>6.5</c:v>
                </c:pt>
                <c:pt idx="148">
                  <c:v>13.5</c:v>
                </c:pt>
                <c:pt idx="149">
                  <c:v>10</c:v>
                </c:pt>
                <c:pt idx="150">
                  <c:v>24</c:v>
                </c:pt>
                <c:pt idx="151">
                  <c:v>6</c:v>
                </c:pt>
                <c:pt idx="152">
                  <c:v>7</c:v>
                </c:pt>
                <c:pt idx="153">
                  <c:v>24</c:v>
                </c:pt>
                <c:pt idx="154">
                  <c:v>24</c:v>
                </c:pt>
                <c:pt idx="155">
                  <c:v>14</c:v>
                </c:pt>
                <c:pt idx="156">
                  <c:v>9.5</c:v>
                </c:pt>
                <c:pt idx="157">
                  <c:v>25</c:v>
                </c:pt>
                <c:pt idx="158">
                  <c:v>15</c:v>
                </c:pt>
                <c:pt idx="159">
                  <c:v>9.5</c:v>
                </c:pt>
                <c:pt idx="160">
                  <c:v>21</c:v>
                </c:pt>
              </c:numCache>
            </c:numRef>
          </c:xVal>
          <c:yVal>
            <c:numRef>
              <c:f>Sheet1!$B$2:$B$162</c:f>
              <c:numCache>
                <c:formatCode>General</c:formatCode>
                <c:ptCount val="16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66535516966160668</c:v>
                </c:pt>
                <c:pt idx="49">
                  <c:v>0.87388193202146691</c:v>
                </c:pt>
                <c:pt idx="50">
                  <c:v>0.58664971314511916</c:v>
                </c:pt>
                <c:pt idx="51">
                  <c:v>0</c:v>
                </c:pt>
                <c:pt idx="52">
                  <c:v>0.35411594345179648</c:v>
                </c:pt>
                <c:pt idx="53">
                  <c:v>0.40657113909393539</c:v>
                </c:pt>
                <c:pt idx="54">
                  <c:v>0.53240658421394194</c:v>
                </c:pt>
                <c:pt idx="55">
                  <c:v>6.6735813081228716</c:v>
                </c:pt>
                <c:pt idx="56">
                  <c:v>0</c:v>
                </c:pt>
                <c:pt idx="57">
                  <c:v>3.6064811690697382E-3</c:v>
                </c:pt>
                <c:pt idx="58">
                  <c:v>0</c:v>
                </c:pt>
                <c:pt idx="59">
                  <c:v>0</c:v>
                </c:pt>
                <c:pt idx="60">
                  <c:v>0</c:v>
                </c:pt>
                <c:pt idx="61">
                  <c:v>0</c:v>
                </c:pt>
                <c:pt idx="62">
                  <c:v>0.18428223887646261</c:v>
                </c:pt>
                <c:pt idx="63">
                  <c:v>0</c:v>
                </c:pt>
                <c:pt idx="64">
                  <c:v>0</c:v>
                </c:pt>
                <c:pt idx="65">
                  <c:v>4.4485855792578528E-2</c:v>
                </c:pt>
                <c:pt idx="66">
                  <c:v>0</c:v>
                </c:pt>
                <c:pt idx="67">
                  <c:v>0</c:v>
                </c:pt>
                <c:pt idx="68">
                  <c:v>1.074536469066999E-2</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1.208548268238762E-2</c:v>
                </c:pt>
                <c:pt idx="139">
                  <c:v>0</c:v>
                </c:pt>
                <c:pt idx="140">
                  <c:v>0</c:v>
                </c:pt>
                <c:pt idx="141">
                  <c:v>0</c:v>
                </c:pt>
                <c:pt idx="142">
                  <c:v>0</c:v>
                </c:pt>
                <c:pt idx="143">
                  <c:v>0</c:v>
                </c:pt>
                <c:pt idx="144">
                  <c:v>4.4286341356353787E-2</c:v>
                </c:pt>
                <c:pt idx="145">
                  <c:v>0</c:v>
                </c:pt>
                <c:pt idx="146">
                  <c:v>9.5030221921740862E-2</c:v>
                </c:pt>
                <c:pt idx="147">
                  <c:v>8.4190832553788592E-2</c:v>
                </c:pt>
                <c:pt idx="148">
                  <c:v>1.9414048711613129E-2</c:v>
                </c:pt>
                <c:pt idx="149">
                  <c:v>0</c:v>
                </c:pt>
                <c:pt idx="150">
                  <c:v>0.15755358841173461</c:v>
                </c:pt>
                <c:pt idx="151">
                  <c:v>0.15608959402706479</c:v>
                </c:pt>
                <c:pt idx="152">
                  <c:v>7.0868639048581716</c:v>
                </c:pt>
                <c:pt idx="153">
                  <c:v>2.6271937311515919E-3</c:v>
                </c:pt>
                <c:pt idx="154">
                  <c:v>1.6755574253260411E-2</c:v>
                </c:pt>
                <c:pt idx="155">
                  <c:v>0</c:v>
                </c:pt>
                <c:pt idx="156">
                  <c:v>0</c:v>
                </c:pt>
                <c:pt idx="157">
                  <c:v>0</c:v>
                </c:pt>
                <c:pt idx="158">
                  <c:v>0</c:v>
                </c:pt>
                <c:pt idx="159">
                  <c:v>0</c:v>
                </c:pt>
                <c:pt idx="160">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5.4"/>
          <c:min val="3.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6</c:f>
              <c:numCache>
                <c:formatCode>General</c:formatCode>
                <c:ptCount val="25"/>
                <c:pt idx="0">
                  <c:v>0.1</c:v>
                </c:pt>
                <c:pt idx="1">
                  <c:v>0.1</c:v>
                </c:pt>
                <c:pt idx="2">
                  <c:v>0.15</c:v>
                </c:pt>
                <c:pt idx="3">
                  <c:v>0.15</c:v>
                </c:pt>
                <c:pt idx="4">
                  <c:v>0.1</c:v>
                </c:pt>
                <c:pt idx="5">
                  <c:v>0.1</c:v>
                </c:pt>
                <c:pt idx="6">
                  <c:v>0.15</c:v>
                </c:pt>
                <c:pt idx="7">
                  <c:v>0.1</c:v>
                </c:pt>
                <c:pt idx="8">
                  <c:v>0.1</c:v>
                </c:pt>
                <c:pt idx="9">
                  <c:v>0.1</c:v>
                </c:pt>
                <c:pt idx="10">
                  <c:v>0.1</c:v>
                </c:pt>
                <c:pt idx="11">
                  <c:v>0.1</c:v>
                </c:pt>
                <c:pt idx="12">
                  <c:v>0.1</c:v>
                </c:pt>
                <c:pt idx="13">
                  <c:v>0.1</c:v>
                </c:pt>
                <c:pt idx="14">
                  <c:v>0.1</c:v>
                </c:pt>
                <c:pt idx="15">
                  <c:v>0.1</c:v>
                </c:pt>
                <c:pt idx="16">
                  <c:v>0.1</c:v>
                </c:pt>
                <c:pt idx="17">
                  <c:v>0.15</c:v>
                </c:pt>
                <c:pt idx="18">
                  <c:v>0.1</c:v>
                </c:pt>
                <c:pt idx="19">
                  <c:v>0.05</c:v>
                </c:pt>
                <c:pt idx="20">
                  <c:v>0.25</c:v>
                </c:pt>
                <c:pt idx="21">
                  <c:v>0.3</c:v>
                </c:pt>
                <c:pt idx="22">
                  <c:v>0.15</c:v>
                </c:pt>
                <c:pt idx="23">
                  <c:v>0.2</c:v>
                </c:pt>
                <c:pt idx="24">
                  <c:v>0.05</c:v>
                </c:pt>
              </c:numCache>
            </c:numRef>
          </c:xVal>
          <c:yVal>
            <c:numRef>
              <c:f>Sheet1!$B$2:$B$26</c:f>
              <c:numCache>
                <c:formatCode>General</c:formatCode>
                <c:ptCount val="2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27296962627611893</c:v>
                </c:pt>
                <c:pt idx="21">
                  <c:v>0.17453825430309389</c:v>
                </c:pt>
                <c:pt idx="22">
                  <c:v>0</c:v>
                </c:pt>
                <c:pt idx="23">
                  <c:v>0.15649360016511971</c:v>
                </c:pt>
                <c:pt idx="24">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6</c:f>
              <c:numCache>
                <c:formatCode>General</c:formatCode>
                <c:ptCount val="25"/>
                <c:pt idx="0">
                  <c:v>7.5</c:v>
                </c:pt>
                <c:pt idx="1">
                  <c:v>7.5</c:v>
                </c:pt>
                <c:pt idx="2">
                  <c:v>14</c:v>
                </c:pt>
                <c:pt idx="3">
                  <c:v>7.5</c:v>
                </c:pt>
                <c:pt idx="4">
                  <c:v>8</c:v>
                </c:pt>
                <c:pt idx="5">
                  <c:v>7.5</c:v>
                </c:pt>
                <c:pt idx="6">
                  <c:v>7.5</c:v>
                </c:pt>
                <c:pt idx="7">
                  <c:v>7.5</c:v>
                </c:pt>
                <c:pt idx="8">
                  <c:v>7.5</c:v>
                </c:pt>
                <c:pt idx="9">
                  <c:v>8</c:v>
                </c:pt>
                <c:pt idx="10">
                  <c:v>7.5</c:v>
                </c:pt>
                <c:pt idx="11">
                  <c:v>7.5</c:v>
                </c:pt>
                <c:pt idx="12">
                  <c:v>7.5</c:v>
                </c:pt>
                <c:pt idx="13">
                  <c:v>7.5</c:v>
                </c:pt>
                <c:pt idx="14">
                  <c:v>8</c:v>
                </c:pt>
                <c:pt idx="15">
                  <c:v>7.5</c:v>
                </c:pt>
                <c:pt idx="16">
                  <c:v>7.5</c:v>
                </c:pt>
                <c:pt idx="17">
                  <c:v>14</c:v>
                </c:pt>
                <c:pt idx="18">
                  <c:v>14</c:v>
                </c:pt>
                <c:pt idx="19">
                  <c:v>8</c:v>
                </c:pt>
                <c:pt idx="20">
                  <c:v>11.5</c:v>
                </c:pt>
                <c:pt idx="21">
                  <c:v>11</c:v>
                </c:pt>
                <c:pt idx="22">
                  <c:v>7.5</c:v>
                </c:pt>
                <c:pt idx="23">
                  <c:v>16</c:v>
                </c:pt>
                <c:pt idx="24">
                  <c:v>8</c:v>
                </c:pt>
              </c:numCache>
            </c:numRef>
          </c:xVal>
          <c:yVal>
            <c:numRef>
              <c:f>Sheet1!$B$2:$B$26</c:f>
              <c:numCache>
                <c:formatCode>General</c:formatCode>
                <c:ptCount val="2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27296962627611893</c:v>
                </c:pt>
                <c:pt idx="21">
                  <c:v>0.17453825430309389</c:v>
                </c:pt>
                <c:pt idx="22">
                  <c:v>0</c:v>
                </c:pt>
                <c:pt idx="23">
                  <c:v>0.15649360016511971</c:v>
                </c:pt>
                <c:pt idx="24">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2</c:v>
                </c:pt>
                <c:pt idx="20">
                  <c:v>0.15</c:v>
                </c:pt>
                <c:pt idx="21">
                  <c:v>0</c:v>
                </c:pt>
                <c:pt idx="22">
                  <c:v>0</c:v>
                </c:pt>
                <c:pt idx="23">
                  <c:v>0.25</c:v>
                </c:pt>
                <c:pt idx="24">
                  <c:v>0.2</c:v>
                </c:pt>
                <c:pt idx="25">
                  <c:v>0</c:v>
                </c:pt>
                <c:pt idx="26">
                  <c:v>0.65</c:v>
                </c:pt>
                <c:pt idx="27">
                  <c:v>0.70000000000000007</c:v>
                </c:pt>
                <c:pt idx="28">
                  <c:v>0.70000000000000007</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2</c:v>
                </c:pt>
                <c:pt idx="20">
                  <c:v>15</c:v>
                </c:pt>
                <c:pt idx="21">
                  <c:v>15</c:v>
                </c:pt>
                <c:pt idx="22">
                  <c:v>15</c:v>
                </c:pt>
                <c:pt idx="23">
                  <c:v>11.5</c:v>
                </c:pt>
                <c:pt idx="24">
                  <c:v>14</c:v>
                </c:pt>
                <c:pt idx="25">
                  <c:v>15</c:v>
                </c:pt>
                <c:pt idx="26">
                  <c:v>5</c:v>
                </c:pt>
                <c:pt idx="27">
                  <c:v>4.5</c:v>
                </c:pt>
                <c:pt idx="28">
                  <c:v>4.5</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Harry's</c:v>
                </c:pt>
                <c:pt idx="4">
                  <c:v>Equate</c:v>
                </c:pt>
              </c:strCache>
            </c:strRef>
          </c:cat>
          <c:val>
            <c:numRef>
              <c:f>Sheet1!$B$2:$B$6</c:f>
              <c:numCache>
                <c:formatCode>General</c:formatCode>
                <c:ptCount val="5"/>
                <c:pt idx="0">
                  <c:v>1</c:v>
                </c:pt>
                <c:pt idx="1">
                  <c:v>-0.17500000000000004</c:v>
                </c:pt>
                <c:pt idx="2">
                  <c:v>1.25</c:v>
                </c:pt>
                <c:pt idx="3">
                  <c:v>-0.88900000000000001</c:v>
                </c:pt>
                <c:pt idx="4">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0.05</c:v>
                </c:pt>
                <c:pt idx="1">
                  <c:v>0</c:v>
                </c:pt>
                <c:pt idx="2">
                  <c:v>0</c:v>
                </c:pt>
                <c:pt idx="3">
                  <c:v>0</c:v>
                </c:pt>
                <c:pt idx="4">
                  <c:v>0.1</c:v>
                </c:pt>
                <c:pt idx="5">
                  <c:v>0</c:v>
                </c:pt>
                <c:pt idx="6">
                  <c:v>0.1</c:v>
                </c:pt>
                <c:pt idx="7">
                  <c:v>0</c:v>
                </c:pt>
                <c:pt idx="8">
                  <c:v>0.05</c:v>
                </c:pt>
                <c:pt idx="9">
                  <c:v>0</c:v>
                </c:pt>
                <c:pt idx="10">
                  <c:v>0.05</c:v>
                </c:pt>
                <c:pt idx="11">
                  <c:v>0</c:v>
                </c:pt>
                <c:pt idx="12">
                  <c:v>0</c:v>
                </c:pt>
                <c:pt idx="13">
                  <c:v>-0.1</c:v>
                </c:pt>
                <c:pt idx="14">
                  <c:v>-0.1</c:v>
                </c:pt>
                <c:pt idx="15">
                  <c:v>0</c:v>
                </c:pt>
                <c:pt idx="16">
                  <c:v>0.1</c:v>
                </c:pt>
                <c:pt idx="17">
                  <c:v>0.2</c:v>
                </c:pt>
                <c:pt idx="18">
                  <c:v>0.2</c:v>
                </c:pt>
                <c:pt idx="19">
                  <c:v>0.15</c:v>
                </c:pt>
                <c:pt idx="20">
                  <c:v>0.15</c:v>
                </c:pt>
                <c:pt idx="21">
                  <c:v>0.15</c:v>
                </c:pt>
                <c:pt idx="22">
                  <c:v>0.1</c:v>
                </c:pt>
                <c:pt idx="23">
                  <c:v>0.2</c:v>
                </c:pt>
                <c:pt idx="24">
                  <c:v>0.05</c:v>
                </c:pt>
                <c:pt idx="25">
                  <c:v>0.05</c:v>
                </c:pt>
                <c:pt idx="26">
                  <c:v>0.2</c:v>
                </c:pt>
                <c:pt idx="27">
                  <c:v>0.2</c:v>
                </c:pt>
                <c:pt idx="28">
                  <c:v>0.1</c:v>
                </c:pt>
                <c:pt idx="29">
                  <c:v>0.2</c:v>
                </c:pt>
                <c:pt idx="30">
                  <c:v>0.1</c:v>
                </c:pt>
                <c:pt idx="31">
                  <c:v>0.1</c:v>
                </c:pt>
                <c:pt idx="32">
                  <c:v>0.1</c:v>
                </c:pt>
                <c:pt idx="33">
                  <c:v>0</c:v>
                </c:pt>
                <c:pt idx="34">
                  <c:v>0</c:v>
                </c:pt>
                <c:pt idx="35">
                  <c:v>0</c:v>
                </c:pt>
                <c:pt idx="36">
                  <c:v>0.05</c:v>
                </c:pt>
                <c:pt idx="37">
                  <c:v>0</c:v>
                </c:pt>
                <c:pt idx="38">
                  <c:v>0.15</c:v>
                </c:pt>
                <c:pt idx="39">
                  <c:v>0</c:v>
                </c:pt>
                <c:pt idx="40">
                  <c:v>0.15</c:v>
                </c:pt>
                <c:pt idx="41">
                  <c:v>0</c:v>
                </c:pt>
                <c:pt idx="42">
                  <c:v>0.15</c:v>
                </c:pt>
                <c:pt idx="43">
                  <c:v>0.05</c:v>
                </c:pt>
                <c:pt idx="44">
                  <c:v>0.1</c:v>
                </c:pt>
                <c:pt idx="45">
                  <c:v>0.25</c:v>
                </c:pt>
                <c:pt idx="46">
                  <c:v>0.25</c:v>
                </c:pt>
                <c:pt idx="47">
                  <c:v>0.2</c:v>
                </c:pt>
                <c:pt idx="48">
                  <c:v>0.2</c:v>
                </c:pt>
                <c:pt idx="49">
                  <c:v>0.05</c:v>
                </c:pt>
                <c:pt idx="50">
                  <c:v>-0.05</c:v>
                </c:pt>
                <c:pt idx="51">
                  <c:v>-0.05</c:v>
                </c:pt>
                <c:pt idx="52">
                  <c:v>0.2</c:v>
                </c:pt>
                <c:pt idx="53">
                  <c:v>0.05</c:v>
                </c:pt>
                <c:pt idx="54">
                  <c:v>0.15</c:v>
                </c:pt>
                <c:pt idx="55">
                  <c:v>0.1</c:v>
                </c:pt>
                <c:pt idx="56">
                  <c:v>0.1</c:v>
                </c:pt>
                <c:pt idx="57">
                  <c:v>0.1</c:v>
                </c:pt>
                <c:pt idx="58">
                  <c:v>0.2</c:v>
                </c:pt>
                <c:pt idx="59">
                  <c:v>0.2</c:v>
                </c:pt>
                <c:pt idx="60">
                  <c:v>0.2</c:v>
                </c:pt>
                <c:pt idx="61">
                  <c:v>0.2</c:v>
                </c:pt>
                <c:pt idx="62">
                  <c:v>0.2</c:v>
                </c:pt>
                <c:pt idx="63">
                  <c:v>0.15</c:v>
                </c:pt>
                <c:pt idx="64">
                  <c:v>0.15</c:v>
                </c:pt>
                <c:pt idx="65">
                  <c:v>0.05</c:v>
                </c:pt>
                <c:pt idx="66">
                  <c:v>0.05</c:v>
                </c:pt>
                <c:pt idx="67">
                  <c:v>0</c:v>
                </c:pt>
                <c:pt idx="68">
                  <c:v>0.1</c:v>
                </c:pt>
                <c:pt idx="69">
                  <c:v>0.1</c:v>
                </c:pt>
                <c:pt idx="70">
                  <c:v>0.15</c:v>
                </c:pt>
                <c:pt idx="71">
                  <c:v>0.15</c:v>
                </c:pt>
                <c:pt idx="72">
                  <c:v>0.15</c:v>
                </c:pt>
                <c:pt idx="73">
                  <c:v>0.2</c:v>
                </c:pt>
                <c:pt idx="74">
                  <c:v>0.4</c:v>
                </c:pt>
                <c:pt idx="75">
                  <c:v>0.15</c:v>
                </c:pt>
                <c:pt idx="76">
                  <c:v>0.15</c:v>
                </c:pt>
                <c:pt idx="77">
                  <c:v>0</c:v>
                </c:pt>
                <c:pt idx="78">
                  <c:v>0</c:v>
                </c:pt>
                <c:pt idx="79">
                  <c:v>0</c:v>
                </c:pt>
                <c:pt idx="80">
                  <c:v>0</c:v>
                </c:pt>
                <c:pt idx="81">
                  <c:v>0</c:v>
                </c:pt>
                <c:pt idx="82">
                  <c:v>0</c:v>
                </c:pt>
                <c:pt idx="83">
                  <c:v>0.15</c:v>
                </c:pt>
                <c:pt idx="84">
                  <c:v>0.2</c:v>
                </c:pt>
                <c:pt idx="85">
                  <c:v>0.2</c:v>
                </c:pt>
                <c:pt idx="86">
                  <c:v>0.25</c:v>
                </c:pt>
                <c:pt idx="87">
                  <c:v>0.15</c:v>
                </c:pt>
                <c:pt idx="88">
                  <c:v>0.25</c:v>
                </c:pt>
                <c:pt idx="89">
                  <c:v>0.2</c:v>
                </c:pt>
                <c:pt idx="90">
                  <c:v>0.15</c:v>
                </c:pt>
                <c:pt idx="91">
                  <c:v>0.15</c:v>
                </c:pt>
                <c:pt idx="92">
                  <c:v>0.15</c:v>
                </c:pt>
                <c:pt idx="93">
                  <c:v>0.2</c:v>
                </c:pt>
                <c:pt idx="94">
                  <c:v>0.1</c:v>
                </c:pt>
                <c:pt idx="95">
                  <c:v>0.05</c:v>
                </c:pt>
                <c:pt idx="96">
                  <c:v>0.1</c:v>
                </c:pt>
                <c:pt idx="97">
                  <c:v>0.15</c:v>
                </c:pt>
                <c:pt idx="98">
                  <c:v>0.15</c:v>
                </c:pt>
                <c:pt idx="99">
                  <c:v>0.3</c:v>
                </c:pt>
                <c:pt idx="100">
                  <c:v>0.3</c:v>
                </c:pt>
                <c:pt idx="101">
                  <c:v>0.3</c:v>
                </c:pt>
                <c:pt idx="102">
                  <c:v>0.15</c:v>
                </c:pt>
                <c:pt idx="103">
                  <c:v>0</c:v>
                </c:pt>
                <c:pt idx="104">
                  <c:v>0</c:v>
                </c:pt>
                <c:pt idx="105">
                  <c:v>0</c:v>
                </c:pt>
                <c:pt idx="106">
                  <c:v>0.05</c:v>
                </c:pt>
                <c:pt idx="107">
                  <c:v>0.1</c:v>
                </c:pt>
                <c:pt idx="108">
                  <c:v>0.1</c:v>
                </c:pt>
                <c:pt idx="109">
                  <c:v>0.2</c:v>
                </c:pt>
                <c:pt idx="110">
                  <c:v>0.2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23</c:v>
                </c:pt>
                <c:pt idx="1">
                  <c:v>23</c:v>
                </c:pt>
                <c:pt idx="2">
                  <c:v>22.5</c:v>
                </c:pt>
                <c:pt idx="3">
                  <c:v>22.5</c:v>
                </c:pt>
                <c:pt idx="4">
                  <c:v>23</c:v>
                </c:pt>
                <c:pt idx="5">
                  <c:v>22.5</c:v>
                </c:pt>
                <c:pt idx="6">
                  <c:v>23</c:v>
                </c:pt>
                <c:pt idx="7">
                  <c:v>22.5</c:v>
                </c:pt>
                <c:pt idx="8">
                  <c:v>23.5</c:v>
                </c:pt>
                <c:pt idx="9">
                  <c:v>22.5</c:v>
                </c:pt>
                <c:pt idx="10">
                  <c:v>24</c:v>
                </c:pt>
                <c:pt idx="11">
                  <c:v>22</c:v>
                </c:pt>
                <c:pt idx="12">
                  <c:v>22</c:v>
                </c:pt>
                <c:pt idx="13">
                  <c:v>24.5</c:v>
                </c:pt>
                <c:pt idx="14">
                  <c:v>24.5</c:v>
                </c:pt>
                <c:pt idx="15">
                  <c:v>22</c:v>
                </c:pt>
                <c:pt idx="16">
                  <c:v>20.5</c:v>
                </c:pt>
                <c:pt idx="17">
                  <c:v>19.5</c:v>
                </c:pt>
                <c:pt idx="18">
                  <c:v>19.5</c:v>
                </c:pt>
                <c:pt idx="19">
                  <c:v>19</c:v>
                </c:pt>
                <c:pt idx="20">
                  <c:v>18.5</c:v>
                </c:pt>
                <c:pt idx="21">
                  <c:v>19</c:v>
                </c:pt>
                <c:pt idx="22">
                  <c:v>20.5</c:v>
                </c:pt>
                <c:pt idx="23">
                  <c:v>20</c:v>
                </c:pt>
                <c:pt idx="24">
                  <c:v>21</c:v>
                </c:pt>
                <c:pt idx="25">
                  <c:v>21.5</c:v>
                </c:pt>
                <c:pt idx="26">
                  <c:v>18</c:v>
                </c:pt>
                <c:pt idx="27">
                  <c:v>18</c:v>
                </c:pt>
                <c:pt idx="28">
                  <c:v>19.5</c:v>
                </c:pt>
                <c:pt idx="29">
                  <c:v>18</c:v>
                </c:pt>
                <c:pt idx="30">
                  <c:v>19.5</c:v>
                </c:pt>
                <c:pt idx="31">
                  <c:v>19.5</c:v>
                </c:pt>
                <c:pt idx="32">
                  <c:v>19.5</c:v>
                </c:pt>
                <c:pt idx="33">
                  <c:v>22</c:v>
                </c:pt>
                <c:pt idx="34">
                  <c:v>22.5</c:v>
                </c:pt>
                <c:pt idx="35">
                  <c:v>22.5</c:v>
                </c:pt>
                <c:pt idx="36">
                  <c:v>22</c:v>
                </c:pt>
                <c:pt idx="37">
                  <c:v>22.5</c:v>
                </c:pt>
                <c:pt idx="38">
                  <c:v>21</c:v>
                </c:pt>
                <c:pt idx="39">
                  <c:v>22.5</c:v>
                </c:pt>
                <c:pt idx="40">
                  <c:v>21</c:v>
                </c:pt>
                <c:pt idx="41">
                  <c:v>22.5</c:v>
                </c:pt>
                <c:pt idx="42">
                  <c:v>20.5</c:v>
                </c:pt>
                <c:pt idx="43">
                  <c:v>21</c:v>
                </c:pt>
                <c:pt idx="44">
                  <c:v>20</c:v>
                </c:pt>
                <c:pt idx="45">
                  <c:v>15</c:v>
                </c:pt>
                <c:pt idx="46">
                  <c:v>19</c:v>
                </c:pt>
                <c:pt idx="47">
                  <c:v>16.5</c:v>
                </c:pt>
                <c:pt idx="48">
                  <c:v>19.5</c:v>
                </c:pt>
                <c:pt idx="49">
                  <c:v>19.5</c:v>
                </c:pt>
                <c:pt idx="50">
                  <c:v>21</c:v>
                </c:pt>
                <c:pt idx="51">
                  <c:v>21</c:v>
                </c:pt>
                <c:pt idx="52">
                  <c:v>19</c:v>
                </c:pt>
                <c:pt idx="53">
                  <c:v>19</c:v>
                </c:pt>
                <c:pt idx="54">
                  <c:v>20</c:v>
                </c:pt>
                <c:pt idx="55">
                  <c:v>22.5</c:v>
                </c:pt>
                <c:pt idx="56">
                  <c:v>18</c:v>
                </c:pt>
                <c:pt idx="57">
                  <c:v>18</c:v>
                </c:pt>
                <c:pt idx="58">
                  <c:v>16.5</c:v>
                </c:pt>
                <c:pt idx="59">
                  <c:v>16.5</c:v>
                </c:pt>
                <c:pt idx="60">
                  <c:v>16.5</c:v>
                </c:pt>
                <c:pt idx="61">
                  <c:v>16.5</c:v>
                </c:pt>
                <c:pt idx="62">
                  <c:v>16</c:v>
                </c:pt>
                <c:pt idx="63">
                  <c:v>17.5</c:v>
                </c:pt>
                <c:pt idx="64">
                  <c:v>20</c:v>
                </c:pt>
                <c:pt idx="65">
                  <c:v>19.5</c:v>
                </c:pt>
                <c:pt idx="66">
                  <c:v>21</c:v>
                </c:pt>
                <c:pt idx="67">
                  <c:v>20</c:v>
                </c:pt>
                <c:pt idx="68">
                  <c:v>18.5</c:v>
                </c:pt>
                <c:pt idx="69">
                  <c:v>18.5</c:v>
                </c:pt>
                <c:pt idx="70">
                  <c:v>21.5</c:v>
                </c:pt>
                <c:pt idx="71">
                  <c:v>17</c:v>
                </c:pt>
                <c:pt idx="72">
                  <c:v>20.5</c:v>
                </c:pt>
                <c:pt idx="73">
                  <c:v>16</c:v>
                </c:pt>
                <c:pt idx="74">
                  <c:v>15</c:v>
                </c:pt>
                <c:pt idx="75">
                  <c:v>17.5</c:v>
                </c:pt>
                <c:pt idx="76">
                  <c:v>21.5</c:v>
                </c:pt>
                <c:pt idx="77">
                  <c:v>20</c:v>
                </c:pt>
                <c:pt idx="78">
                  <c:v>20</c:v>
                </c:pt>
                <c:pt idx="79">
                  <c:v>20</c:v>
                </c:pt>
                <c:pt idx="80">
                  <c:v>20</c:v>
                </c:pt>
                <c:pt idx="81">
                  <c:v>20.5</c:v>
                </c:pt>
                <c:pt idx="82">
                  <c:v>20</c:v>
                </c:pt>
                <c:pt idx="83">
                  <c:v>17.5</c:v>
                </c:pt>
                <c:pt idx="84">
                  <c:v>21</c:v>
                </c:pt>
                <c:pt idx="85">
                  <c:v>16</c:v>
                </c:pt>
                <c:pt idx="86">
                  <c:v>20</c:v>
                </c:pt>
                <c:pt idx="87">
                  <c:v>17.5</c:v>
                </c:pt>
                <c:pt idx="88">
                  <c:v>20</c:v>
                </c:pt>
                <c:pt idx="89">
                  <c:v>16.5</c:v>
                </c:pt>
                <c:pt idx="90">
                  <c:v>21.5</c:v>
                </c:pt>
                <c:pt idx="91">
                  <c:v>16.5</c:v>
                </c:pt>
                <c:pt idx="92">
                  <c:v>16.5</c:v>
                </c:pt>
                <c:pt idx="93">
                  <c:v>16.5</c:v>
                </c:pt>
                <c:pt idx="94">
                  <c:v>18.5</c:v>
                </c:pt>
                <c:pt idx="95">
                  <c:v>19.5</c:v>
                </c:pt>
                <c:pt idx="96">
                  <c:v>18</c:v>
                </c:pt>
                <c:pt idx="97">
                  <c:v>17</c:v>
                </c:pt>
                <c:pt idx="98">
                  <c:v>17.5</c:v>
                </c:pt>
                <c:pt idx="99">
                  <c:v>14</c:v>
                </c:pt>
                <c:pt idx="100">
                  <c:v>14</c:v>
                </c:pt>
                <c:pt idx="101">
                  <c:v>14</c:v>
                </c:pt>
                <c:pt idx="102">
                  <c:v>16.5</c:v>
                </c:pt>
                <c:pt idx="103">
                  <c:v>20</c:v>
                </c:pt>
                <c:pt idx="104">
                  <c:v>20</c:v>
                </c:pt>
                <c:pt idx="105">
                  <c:v>20</c:v>
                </c:pt>
                <c:pt idx="106">
                  <c:v>19</c:v>
                </c:pt>
                <c:pt idx="107">
                  <c:v>18.5</c:v>
                </c:pt>
                <c:pt idx="108">
                  <c:v>18</c:v>
                </c:pt>
                <c:pt idx="109">
                  <c:v>16</c:v>
                </c:pt>
                <c:pt idx="110">
                  <c:v>15.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9.4"/>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0.1</c:v>
                </c:pt>
                <c:pt idx="1">
                  <c:v>0.1</c:v>
                </c:pt>
                <c:pt idx="2">
                  <c:v>0.05</c:v>
                </c:pt>
                <c:pt idx="3">
                  <c:v>0.05</c:v>
                </c:pt>
                <c:pt idx="4">
                  <c:v>0.05</c:v>
                </c:pt>
                <c:pt idx="5">
                  <c:v>0.1</c:v>
                </c:pt>
                <c:pt idx="6">
                  <c:v>0.1</c:v>
                </c:pt>
                <c:pt idx="7">
                  <c:v>0.1</c:v>
                </c:pt>
                <c:pt idx="8">
                  <c:v>0.1</c:v>
                </c:pt>
                <c:pt idx="9">
                  <c:v>0.1</c:v>
                </c:pt>
                <c:pt idx="10">
                  <c:v>0.1</c:v>
                </c:pt>
                <c:pt idx="11">
                  <c:v>0.1</c:v>
                </c:pt>
                <c:pt idx="12">
                  <c:v>0.1</c:v>
                </c:pt>
                <c:pt idx="13">
                  <c:v>0.1</c:v>
                </c:pt>
                <c:pt idx="14">
                  <c:v>0.1</c:v>
                </c:pt>
                <c:pt idx="15">
                  <c:v>0.1</c:v>
                </c:pt>
                <c:pt idx="16">
                  <c:v>0.1</c:v>
                </c:pt>
                <c:pt idx="17">
                  <c:v>0.1</c:v>
                </c:pt>
                <c:pt idx="18">
                  <c:v>0</c:v>
                </c:pt>
                <c:pt idx="19">
                  <c:v>0.1</c:v>
                </c:pt>
                <c:pt idx="20">
                  <c:v>0</c:v>
                </c:pt>
                <c:pt idx="21">
                  <c:v>0</c:v>
                </c:pt>
                <c:pt idx="22">
                  <c:v>0.05</c:v>
                </c:pt>
                <c:pt idx="23">
                  <c:v>0</c:v>
                </c:pt>
                <c:pt idx="24">
                  <c:v>0</c:v>
                </c:pt>
                <c:pt idx="25">
                  <c:v>0</c:v>
                </c:pt>
                <c:pt idx="26">
                  <c:v>0.1</c:v>
                </c:pt>
                <c:pt idx="27">
                  <c:v>0</c:v>
                </c:pt>
                <c:pt idx="28">
                  <c:v>0</c:v>
                </c:pt>
                <c:pt idx="29">
                  <c:v>0.1</c:v>
                </c:pt>
                <c:pt idx="30">
                  <c:v>0</c:v>
                </c:pt>
                <c:pt idx="31">
                  <c:v>0.1</c:v>
                </c:pt>
                <c:pt idx="32">
                  <c:v>0</c:v>
                </c:pt>
                <c:pt idx="33">
                  <c:v>0.15</c:v>
                </c:pt>
                <c:pt idx="34">
                  <c:v>0.1</c:v>
                </c:pt>
                <c:pt idx="35">
                  <c:v>0.05</c:v>
                </c:pt>
                <c:pt idx="36">
                  <c:v>0.55000000000000004</c:v>
                </c:pt>
                <c:pt idx="37">
                  <c:v>0</c:v>
                </c:pt>
                <c:pt idx="38">
                  <c:v>0.55000000000000004</c:v>
                </c:pt>
                <c:pt idx="39">
                  <c:v>0.5</c:v>
                </c:pt>
                <c:pt idx="40">
                  <c:v>0</c:v>
                </c:pt>
                <c:pt idx="41">
                  <c:v>0.4</c:v>
                </c:pt>
                <c:pt idx="42">
                  <c:v>0.1</c:v>
                </c:pt>
                <c:pt idx="43">
                  <c:v>0.05</c:v>
                </c:pt>
                <c:pt idx="44">
                  <c:v>0.05</c:v>
                </c:pt>
                <c:pt idx="45">
                  <c:v>0.05</c:v>
                </c:pt>
                <c:pt idx="46">
                  <c:v>0</c:v>
                </c:pt>
                <c:pt idx="47">
                  <c:v>0.05</c:v>
                </c:pt>
                <c:pt idx="48">
                  <c:v>0.15</c:v>
                </c:pt>
                <c:pt idx="49">
                  <c:v>0.15</c:v>
                </c:pt>
                <c:pt idx="50">
                  <c:v>0.05</c:v>
                </c:pt>
                <c:pt idx="51">
                  <c:v>0.05</c:v>
                </c:pt>
                <c:pt idx="52">
                  <c:v>0.1</c:v>
                </c:pt>
                <c:pt idx="53">
                  <c:v>0.05</c:v>
                </c:pt>
                <c:pt idx="54">
                  <c:v>0.05</c:v>
                </c:pt>
                <c:pt idx="55">
                  <c:v>0.1</c:v>
                </c:pt>
                <c:pt idx="56">
                  <c:v>0</c:v>
                </c:pt>
                <c:pt idx="57">
                  <c:v>0.05</c:v>
                </c:pt>
                <c:pt idx="58">
                  <c:v>0.05</c:v>
                </c:pt>
                <c:pt idx="59">
                  <c:v>0.05</c:v>
                </c:pt>
                <c:pt idx="60">
                  <c:v>0.1</c:v>
                </c:pt>
                <c:pt idx="61">
                  <c:v>0.15</c:v>
                </c:pt>
                <c:pt idx="62">
                  <c:v>0.05</c:v>
                </c:pt>
                <c:pt idx="63">
                  <c:v>0</c:v>
                </c:pt>
                <c:pt idx="64">
                  <c:v>0.1</c:v>
                </c:pt>
                <c:pt idx="65">
                  <c:v>0.1</c:v>
                </c:pt>
                <c:pt idx="66">
                  <c:v>0.05</c:v>
                </c:pt>
                <c:pt idx="67">
                  <c:v>0</c:v>
                </c:pt>
                <c:pt idx="68">
                  <c:v>0.2</c:v>
                </c:pt>
                <c:pt idx="69">
                  <c:v>0.05</c:v>
                </c:pt>
                <c:pt idx="70">
                  <c:v>0.1</c:v>
                </c:pt>
                <c:pt idx="71">
                  <c:v>0.05</c:v>
                </c:pt>
                <c:pt idx="72">
                  <c:v>0.2</c:v>
                </c:pt>
                <c:pt idx="73">
                  <c:v>0.25</c:v>
                </c:pt>
                <c:pt idx="74">
                  <c:v>0.05</c:v>
                </c:pt>
                <c:pt idx="75">
                  <c:v>0.1</c:v>
                </c:pt>
                <c:pt idx="76">
                  <c:v>0.1</c:v>
                </c:pt>
                <c:pt idx="77">
                  <c:v>0.15</c:v>
                </c:pt>
                <c:pt idx="78">
                  <c:v>0.05</c:v>
                </c:pt>
                <c:pt idx="79">
                  <c:v>0.15</c:v>
                </c:pt>
                <c:pt idx="80">
                  <c:v>0.05</c:v>
                </c:pt>
                <c:pt idx="81">
                  <c:v>0.15</c:v>
                </c:pt>
                <c:pt idx="82">
                  <c:v>0.1</c:v>
                </c:pt>
                <c:pt idx="83">
                  <c:v>0</c:v>
                </c:pt>
                <c:pt idx="84">
                  <c:v>0.05</c:v>
                </c:pt>
                <c:pt idx="85">
                  <c:v>0.2</c:v>
                </c:pt>
                <c:pt idx="86">
                  <c:v>0.05</c:v>
                </c:pt>
                <c:pt idx="87">
                  <c:v>0.05</c:v>
                </c:pt>
                <c:pt idx="88">
                  <c:v>0.1</c:v>
                </c:pt>
                <c:pt idx="89">
                  <c:v>0.1</c:v>
                </c:pt>
                <c:pt idx="90">
                  <c:v>0.05</c:v>
                </c:pt>
                <c:pt idx="91">
                  <c:v>0.1</c:v>
                </c:pt>
                <c:pt idx="92">
                  <c:v>0.15</c:v>
                </c:pt>
                <c:pt idx="93">
                  <c:v>0.05</c:v>
                </c:pt>
                <c:pt idx="94">
                  <c:v>0</c:v>
                </c:pt>
                <c:pt idx="95">
                  <c:v>0.05</c:v>
                </c:pt>
                <c:pt idx="96">
                  <c:v>0.1</c:v>
                </c:pt>
                <c:pt idx="97">
                  <c:v>0.05</c:v>
                </c:pt>
                <c:pt idx="98">
                  <c:v>0.2</c:v>
                </c:pt>
                <c:pt idx="99">
                  <c:v>0.05</c:v>
                </c:pt>
                <c:pt idx="100">
                  <c:v>0.15</c:v>
                </c:pt>
                <c:pt idx="101">
                  <c:v>0.1</c:v>
                </c:pt>
                <c:pt idx="102">
                  <c:v>0.05</c:v>
                </c:pt>
                <c:pt idx="103">
                  <c:v>0</c:v>
                </c:pt>
                <c:pt idx="104">
                  <c:v>0.1</c:v>
                </c:pt>
                <c:pt idx="105">
                  <c:v>0.05</c:v>
                </c:pt>
                <c:pt idx="106">
                  <c:v>0.25</c:v>
                </c:pt>
                <c:pt idx="107">
                  <c:v>0.1</c:v>
                </c:pt>
                <c:pt idx="108">
                  <c:v>0</c:v>
                </c:pt>
                <c:pt idx="109">
                  <c:v>0.05</c:v>
                </c:pt>
                <c:pt idx="110">
                  <c:v>0.05</c:v>
                </c:pt>
                <c:pt idx="111">
                  <c:v>0.15</c:v>
                </c:pt>
                <c:pt idx="112">
                  <c:v>0</c:v>
                </c:pt>
                <c:pt idx="113">
                  <c:v>0</c:v>
                </c:pt>
                <c:pt idx="114">
                  <c:v>0.1</c:v>
                </c:pt>
                <c:pt idx="115">
                  <c:v>0.05</c:v>
                </c:pt>
                <c:pt idx="116">
                  <c:v>0.1</c:v>
                </c:pt>
                <c:pt idx="117">
                  <c:v>0</c:v>
                </c:pt>
                <c:pt idx="118">
                  <c:v>0</c:v>
                </c:pt>
                <c:pt idx="119">
                  <c:v>0</c:v>
                </c:pt>
                <c:pt idx="120">
                  <c:v>0</c:v>
                </c:pt>
                <c:pt idx="121">
                  <c:v>0</c:v>
                </c:pt>
                <c:pt idx="122">
                  <c:v>0</c:v>
                </c:pt>
                <c:pt idx="123">
                  <c:v>0.05</c:v>
                </c:pt>
                <c:pt idx="124">
                  <c:v>0.05</c:v>
                </c:pt>
                <c:pt idx="125">
                  <c:v>0.05</c:v>
                </c:pt>
                <c:pt idx="126">
                  <c:v>0.05</c:v>
                </c:pt>
                <c:pt idx="127">
                  <c:v>0</c:v>
                </c:pt>
                <c:pt idx="128">
                  <c:v>0.2</c:v>
                </c:pt>
                <c:pt idx="129">
                  <c:v>0.1</c:v>
                </c:pt>
                <c:pt idx="130">
                  <c:v>0.2</c:v>
                </c:pt>
                <c:pt idx="131">
                  <c:v>0.05</c:v>
                </c:pt>
                <c:pt idx="132">
                  <c:v>0</c:v>
                </c:pt>
                <c:pt idx="133">
                  <c:v>0</c:v>
                </c:pt>
                <c:pt idx="134">
                  <c:v>0.1</c:v>
                </c:pt>
                <c:pt idx="135">
                  <c:v>0.05</c:v>
                </c:pt>
                <c:pt idx="136">
                  <c:v>0</c:v>
                </c:pt>
                <c:pt idx="137">
                  <c:v>0.3</c:v>
                </c:pt>
                <c:pt idx="138">
                  <c:v>0.05</c:v>
                </c:pt>
                <c:pt idx="139">
                  <c:v>0.1</c:v>
                </c:pt>
                <c:pt idx="140">
                  <c:v>0.1</c:v>
                </c:pt>
                <c:pt idx="141">
                  <c:v>0.05</c:v>
                </c:pt>
                <c:pt idx="142">
                  <c:v>0.1</c:v>
                </c:pt>
                <c:pt idx="143">
                  <c:v>0.2</c:v>
                </c:pt>
                <c:pt idx="144">
                  <c:v>0.05</c:v>
                </c:pt>
                <c:pt idx="145">
                  <c:v>0.1</c:v>
                </c:pt>
                <c:pt idx="146">
                  <c:v>0.05</c:v>
                </c:pt>
                <c:pt idx="147">
                  <c:v>0.1</c:v>
                </c:pt>
                <c:pt idx="148">
                  <c:v>0.05</c:v>
                </c:pt>
                <c:pt idx="149">
                  <c:v>0.2</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66"/>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6</c:v>
                </c:pt>
                <c:pt idx="1">
                  <c:v>10</c:v>
                </c:pt>
                <c:pt idx="2">
                  <c:v>6</c:v>
                </c:pt>
                <c:pt idx="3">
                  <c:v>6</c:v>
                </c:pt>
                <c:pt idx="4">
                  <c:v>10</c:v>
                </c:pt>
                <c:pt idx="5">
                  <c:v>6</c:v>
                </c:pt>
                <c:pt idx="6">
                  <c:v>10</c:v>
                </c:pt>
                <c:pt idx="7">
                  <c:v>6</c:v>
                </c:pt>
                <c:pt idx="8">
                  <c:v>6</c:v>
                </c:pt>
                <c:pt idx="9">
                  <c:v>6</c:v>
                </c:pt>
                <c:pt idx="10">
                  <c:v>6</c:v>
                </c:pt>
                <c:pt idx="11">
                  <c:v>6</c:v>
                </c:pt>
                <c:pt idx="12">
                  <c:v>6</c:v>
                </c:pt>
                <c:pt idx="13">
                  <c:v>6</c:v>
                </c:pt>
                <c:pt idx="14">
                  <c:v>6</c:v>
                </c:pt>
                <c:pt idx="15">
                  <c:v>6</c:v>
                </c:pt>
                <c:pt idx="16">
                  <c:v>6</c:v>
                </c:pt>
                <c:pt idx="17">
                  <c:v>6</c:v>
                </c:pt>
                <c:pt idx="18">
                  <c:v>10</c:v>
                </c:pt>
                <c:pt idx="19">
                  <c:v>6</c:v>
                </c:pt>
                <c:pt idx="20">
                  <c:v>10</c:v>
                </c:pt>
                <c:pt idx="21">
                  <c:v>10</c:v>
                </c:pt>
                <c:pt idx="22">
                  <c:v>6</c:v>
                </c:pt>
                <c:pt idx="23">
                  <c:v>10</c:v>
                </c:pt>
                <c:pt idx="24">
                  <c:v>10</c:v>
                </c:pt>
                <c:pt idx="25">
                  <c:v>10</c:v>
                </c:pt>
                <c:pt idx="26">
                  <c:v>10</c:v>
                </c:pt>
                <c:pt idx="27">
                  <c:v>10</c:v>
                </c:pt>
                <c:pt idx="28">
                  <c:v>10</c:v>
                </c:pt>
                <c:pt idx="29">
                  <c:v>6</c:v>
                </c:pt>
                <c:pt idx="30">
                  <c:v>10.5</c:v>
                </c:pt>
                <c:pt idx="31">
                  <c:v>6</c:v>
                </c:pt>
                <c:pt idx="32">
                  <c:v>10</c:v>
                </c:pt>
                <c:pt idx="33">
                  <c:v>5.5</c:v>
                </c:pt>
                <c:pt idx="34">
                  <c:v>6</c:v>
                </c:pt>
                <c:pt idx="35">
                  <c:v>10.5</c:v>
                </c:pt>
                <c:pt idx="36">
                  <c:v>3</c:v>
                </c:pt>
                <c:pt idx="37">
                  <c:v>10</c:v>
                </c:pt>
                <c:pt idx="38">
                  <c:v>5</c:v>
                </c:pt>
                <c:pt idx="39">
                  <c:v>3</c:v>
                </c:pt>
                <c:pt idx="40">
                  <c:v>10</c:v>
                </c:pt>
                <c:pt idx="41">
                  <c:v>6</c:v>
                </c:pt>
                <c:pt idx="42">
                  <c:v>6</c:v>
                </c:pt>
                <c:pt idx="43">
                  <c:v>6.5</c:v>
                </c:pt>
                <c:pt idx="44">
                  <c:v>10.5</c:v>
                </c:pt>
                <c:pt idx="45">
                  <c:v>14</c:v>
                </c:pt>
                <c:pt idx="46">
                  <c:v>6.5</c:v>
                </c:pt>
                <c:pt idx="47">
                  <c:v>6</c:v>
                </c:pt>
                <c:pt idx="48">
                  <c:v>9.5</c:v>
                </c:pt>
                <c:pt idx="49">
                  <c:v>13</c:v>
                </c:pt>
                <c:pt idx="50">
                  <c:v>6.5</c:v>
                </c:pt>
                <c:pt idx="51">
                  <c:v>6</c:v>
                </c:pt>
                <c:pt idx="52">
                  <c:v>10</c:v>
                </c:pt>
                <c:pt idx="53">
                  <c:v>14.5</c:v>
                </c:pt>
                <c:pt idx="54">
                  <c:v>6</c:v>
                </c:pt>
                <c:pt idx="55">
                  <c:v>6</c:v>
                </c:pt>
                <c:pt idx="56">
                  <c:v>11</c:v>
                </c:pt>
                <c:pt idx="57">
                  <c:v>14.5</c:v>
                </c:pt>
                <c:pt idx="58">
                  <c:v>6</c:v>
                </c:pt>
                <c:pt idx="59">
                  <c:v>6</c:v>
                </c:pt>
                <c:pt idx="60">
                  <c:v>10</c:v>
                </c:pt>
                <c:pt idx="61">
                  <c:v>12.5</c:v>
                </c:pt>
                <c:pt idx="62">
                  <c:v>6.5</c:v>
                </c:pt>
                <c:pt idx="63">
                  <c:v>6.5</c:v>
                </c:pt>
                <c:pt idx="64">
                  <c:v>10</c:v>
                </c:pt>
                <c:pt idx="65">
                  <c:v>13.5</c:v>
                </c:pt>
                <c:pt idx="66">
                  <c:v>6</c:v>
                </c:pt>
                <c:pt idx="67">
                  <c:v>6.5</c:v>
                </c:pt>
                <c:pt idx="68">
                  <c:v>9</c:v>
                </c:pt>
                <c:pt idx="69">
                  <c:v>14.5</c:v>
                </c:pt>
                <c:pt idx="70">
                  <c:v>6</c:v>
                </c:pt>
                <c:pt idx="71">
                  <c:v>6</c:v>
                </c:pt>
                <c:pt idx="72">
                  <c:v>9</c:v>
                </c:pt>
                <c:pt idx="73">
                  <c:v>11</c:v>
                </c:pt>
                <c:pt idx="74">
                  <c:v>6</c:v>
                </c:pt>
                <c:pt idx="75">
                  <c:v>6</c:v>
                </c:pt>
                <c:pt idx="76">
                  <c:v>10</c:v>
                </c:pt>
                <c:pt idx="77">
                  <c:v>12.5</c:v>
                </c:pt>
                <c:pt idx="78">
                  <c:v>6</c:v>
                </c:pt>
                <c:pt idx="79">
                  <c:v>5.5</c:v>
                </c:pt>
                <c:pt idx="80">
                  <c:v>10.5</c:v>
                </c:pt>
                <c:pt idx="81">
                  <c:v>12.5</c:v>
                </c:pt>
                <c:pt idx="82">
                  <c:v>6</c:v>
                </c:pt>
                <c:pt idx="83">
                  <c:v>6.5</c:v>
                </c:pt>
                <c:pt idx="84">
                  <c:v>10.5</c:v>
                </c:pt>
                <c:pt idx="85">
                  <c:v>12</c:v>
                </c:pt>
                <c:pt idx="86">
                  <c:v>6.5</c:v>
                </c:pt>
                <c:pt idx="87">
                  <c:v>6</c:v>
                </c:pt>
                <c:pt idx="88">
                  <c:v>9.5</c:v>
                </c:pt>
                <c:pt idx="89">
                  <c:v>13.5</c:v>
                </c:pt>
                <c:pt idx="90">
                  <c:v>6</c:v>
                </c:pt>
                <c:pt idx="91">
                  <c:v>6</c:v>
                </c:pt>
                <c:pt idx="92">
                  <c:v>9.5</c:v>
                </c:pt>
                <c:pt idx="93">
                  <c:v>14.5</c:v>
                </c:pt>
                <c:pt idx="94">
                  <c:v>6.5</c:v>
                </c:pt>
                <c:pt idx="95">
                  <c:v>6.5</c:v>
                </c:pt>
                <c:pt idx="96">
                  <c:v>10</c:v>
                </c:pt>
                <c:pt idx="97">
                  <c:v>14</c:v>
                </c:pt>
                <c:pt idx="98">
                  <c:v>5.5</c:v>
                </c:pt>
                <c:pt idx="99">
                  <c:v>6</c:v>
                </c:pt>
                <c:pt idx="100">
                  <c:v>9.5</c:v>
                </c:pt>
                <c:pt idx="101">
                  <c:v>13.5</c:v>
                </c:pt>
                <c:pt idx="102">
                  <c:v>6.5</c:v>
                </c:pt>
                <c:pt idx="103">
                  <c:v>10</c:v>
                </c:pt>
                <c:pt idx="104">
                  <c:v>6</c:v>
                </c:pt>
                <c:pt idx="105">
                  <c:v>10.5</c:v>
                </c:pt>
                <c:pt idx="106">
                  <c:v>11</c:v>
                </c:pt>
                <c:pt idx="107">
                  <c:v>6</c:v>
                </c:pt>
                <c:pt idx="108">
                  <c:v>10</c:v>
                </c:pt>
                <c:pt idx="109">
                  <c:v>6</c:v>
                </c:pt>
                <c:pt idx="110">
                  <c:v>10.5</c:v>
                </c:pt>
                <c:pt idx="111">
                  <c:v>13</c:v>
                </c:pt>
                <c:pt idx="112">
                  <c:v>6.5</c:v>
                </c:pt>
                <c:pt idx="113">
                  <c:v>10</c:v>
                </c:pt>
                <c:pt idx="114">
                  <c:v>6</c:v>
                </c:pt>
                <c:pt idx="115">
                  <c:v>10.5</c:v>
                </c:pt>
                <c:pt idx="116">
                  <c:v>14</c:v>
                </c:pt>
                <c:pt idx="117">
                  <c:v>10</c:v>
                </c:pt>
                <c:pt idx="118">
                  <c:v>10</c:v>
                </c:pt>
                <c:pt idx="119">
                  <c:v>10</c:v>
                </c:pt>
                <c:pt idx="120">
                  <c:v>10</c:v>
                </c:pt>
                <c:pt idx="121">
                  <c:v>6.5</c:v>
                </c:pt>
                <c:pt idx="122">
                  <c:v>10</c:v>
                </c:pt>
                <c:pt idx="123">
                  <c:v>6</c:v>
                </c:pt>
                <c:pt idx="124">
                  <c:v>10.5</c:v>
                </c:pt>
                <c:pt idx="125">
                  <c:v>14.5</c:v>
                </c:pt>
                <c:pt idx="126">
                  <c:v>6</c:v>
                </c:pt>
                <c:pt idx="127">
                  <c:v>10</c:v>
                </c:pt>
                <c:pt idx="128">
                  <c:v>5.5</c:v>
                </c:pt>
                <c:pt idx="129">
                  <c:v>10</c:v>
                </c:pt>
                <c:pt idx="130">
                  <c:v>12.5</c:v>
                </c:pt>
                <c:pt idx="131">
                  <c:v>6</c:v>
                </c:pt>
                <c:pt idx="132">
                  <c:v>10</c:v>
                </c:pt>
                <c:pt idx="133">
                  <c:v>6.5</c:v>
                </c:pt>
                <c:pt idx="134">
                  <c:v>10</c:v>
                </c:pt>
                <c:pt idx="135">
                  <c:v>14.5</c:v>
                </c:pt>
                <c:pt idx="136">
                  <c:v>10</c:v>
                </c:pt>
                <c:pt idx="137">
                  <c:v>7</c:v>
                </c:pt>
                <c:pt idx="138">
                  <c:v>6.5</c:v>
                </c:pt>
                <c:pt idx="139">
                  <c:v>6</c:v>
                </c:pt>
                <c:pt idx="140">
                  <c:v>13.5</c:v>
                </c:pt>
                <c:pt idx="141">
                  <c:v>6.5</c:v>
                </c:pt>
                <c:pt idx="142">
                  <c:v>10</c:v>
                </c:pt>
                <c:pt idx="143">
                  <c:v>9</c:v>
                </c:pt>
                <c:pt idx="144">
                  <c:v>6.5</c:v>
                </c:pt>
                <c:pt idx="145">
                  <c:v>6</c:v>
                </c:pt>
                <c:pt idx="146">
                  <c:v>14.5</c:v>
                </c:pt>
                <c:pt idx="147">
                  <c:v>6</c:v>
                </c:pt>
                <c:pt idx="148">
                  <c:v>10.5</c:v>
                </c:pt>
                <c:pt idx="149">
                  <c:v>8.5</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7.399999999999999"/>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05</c:v>
                </c:pt>
                <c:pt idx="19">
                  <c:v>0.25</c:v>
                </c:pt>
                <c:pt idx="20">
                  <c:v>0.05</c:v>
                </c:pt>
                <c:pt idx="21">
                  <c:v>0.25</c:v>
                </c:pt>
                <c:pt idx="22">
                  <c:v>0.3</c:v>
                </c:pt>
                <c:pt idx="23">
                  <c:v>0.05</c:v>
                </c:pt>
                <c:pt idx="24">
                  <c:v>0.3</c:v>
                </c:pt>
                <c:pt idx="25">
                  <c:v>0.60000000000000009</c:v>
                </c:pt>
                <c:pt idx="26">
                  <c:v>0.65</c:v>
                </c:pt>
                <c:pt idx="27">
                  <c:v>0.05</c:v>
                </c:pt>
                <c:pt idx="28">
                  <c:v>0.1</c:v>
                </c:pt>
                <c:pt idx="29">
                  <c:v>0.1</c:v>
                </c:pt>
                <c:pt idx="30">
                  <c:v>0.1</c:v>
                </c:pt>
                <c:pt idx="31">
                  <c:v>0.1</c:v>
                </c:pt>
                <c:pt idx="32">
                  <c:v>0.05</c:v>
                </c:pt>
                <c:pt idx="33">
                  <c:v>0.1</c:v>
                </c:pt>
                <c:pt idx="34">
                  <c:v>0.1</c:v>
                </c:pt>
                <c:pt idx="35">
                  <c:v>0.05</c:v>
                </c:pt>
                <c:pt idx="36">
                  <c:v>0.05</c:v>
                </c:pt>
                <c:pt idx="37">
                  <c:v>0.1</c:v>
                </c:pt>
                <c:pt idx="38">
                  <c:v>0.1</c:v>
                </c:pt>
                <c:pt idx="39">
                  <c:v>0.1</c:v>
                </c:pt>
                <c:pt idx="40">
                  <c:v>0.1</c:v>
                </c:pt>
                <c:pt idx="41">
                  <c:v>0</c:v>
                </c:pt>
                <c:pt idx="42">
                  <c:v>0.1</c:v>
                </c:pt>
                <c:pt idx="43">
                  <c:v>0</c:v>
                </c:pt>
                <c:pt idx="44">
                  <c:v>0.1</c:v>
                </c:pt>
                <c:pt idx="45">
                  <c:v>0</c:v>
                </c:pt>
                <c:pt idx="46">
                  <c:v>0</c:v>
                </c:pt>
                <c:pt idx="47">
                  <c:v>0.1</c:v>
                </c:pt>
                <c:pt idx="48">
                  <c:v>0</c:v>
                </c:pt>
                <c:pt idx="49">
                  <c:v>0.1</c:v>
                </c:pt>
                <c:pt idx="50">
                  <c:v>0</c:v>
                </c:pt>
                <c:pt idx="51">
                  <c:v>0.1</c:v>
                </c:pt>
                <c:pt idx="52">
                  <c:v>0</c:v>
                </c:pt>
                <c:pt idx="53">
                  <c:v>0</c:v>
                </c:pt>
                <c:pt idx="54">
                  <c:v>0</c:v>
                </c:pt>
                <c:pt idx="55">
                  <c:v>0</c:v>
                </c:pt>
                <c:pt idx="56">
                  <c:v>0.05</c:v>
                </c:pt>
                <c:pt idx="57">
                  <c:v>0</c:v>
                </c:pt>
                <c:pt idx="58">
                  <c:v>0</c:v>
                </c:pt>
                <c:pt idx="59">
                  <c:v>0</c:v>
                </c:pt>
                <c:pt idx="60">
                  <c:v>0</c:v>
                </c:pt>
                <c:pt idx="61">
                  <c:v>0</c:v>
                </c:pt>
                <c:pt idx="62">
                  <c:v>0.05</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05</c:v>
                </c:pt>
                <c:pt idx="93">
                  <c:v>0</c:v>
                </c:pt>
                <c:pt idx="94">
                  <c:v>0</c:v>
                </c:pt>
                <c:pt idx="95">
                  <c:v>0.05</c:v>
                </c:pt>
                <c:pt idx="96">
                  <c:v>0</c:v>
                </c:pt>
                <c:pt idx="97">
                  <c:v>0</c:v>
                </c:pt>
                <c:pt idx="98">
                  <c:v>0</c:v>
                </c:pt>
                <c:pt idx="99">
                  <c:v>0</c:v>
                </c:pt>
                <c:pt idx="100">
                  <c:v>0</c:v>
                </c:pt>
                <c:pt idx="101">
                  <c:v>0</c:v>
                </c:pt>
                <c:pt idx="102">
                  <c:v>0</c:v>
                </c:pt>
                <c:pt idx="103">
                  <c:v>0.05</c:v>
                </c:pt>
                <c:pt idx="104">
                  <c:v>0</c:v>
                </c:pt>
                <c:pt idx="105">
                  <c:v>0</c:v>
                </c:pt>
                <c:pt idx="106">
                  <c:v>0</c:v>
                </c:pt>
                <c:pt idx="107">
                  <c:v>0</c:v>
                </c:pt>
                <c:pt idx="108">
                  <c:v>0</c:v>
                </c:pt>
                <c:pt idx="109">
                  <c:v>0</c:v>
                </c:pt>
                <c:pt idx="110">
                  <c:v>0</c:v>
                </c:pt>
                <c:pt idx="111">
                  <c:v>0</c:v>
                </c:pt>
                <c:pt idx="112">
                  <c:v>0</c:v>
                </c:pt>
                <c:pt idx="113">
                  <c:v>0</c:v>
                </c:pt>
                <c:pt idx="114">
                  <c:v>0</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6</c:v>
                </c:pt>
                <c:pt idx="1">
                  <c:v>5.5</c:v>
                </c:pt>
                <c:pt idx="2">
                  <c:v>6</c:v>
                </c:pt>
                <c:pt idx="3">
                  <c:v>4</c:v>
                </c:pt>
                <c:pt idx="4">
                  <c:v>6</c:v>
                </c:pt>
                <c:pt idx="5">
                  <c:v>6</c:v>
                </c:pt>
                <c:pt idx="6">
                  <c:v>5.5</c:v>
                </c:pt>
                <c:pt idx="7">
                  <c:v>6</c:v>
                </c:pt>
                <c:pt idx="8">
                  <c:v>6</c:v>
                </c:pt>
                <c:pt idx="9">
                  <c:v>6</c:v>
                </c:pt>
                <c:pt idx="10">
                  <c:v>6</c:v>
                </c:pt>
                <c:pt idx="11">
                  <c:v>6</c:v>
                </c:pt>
                <c:pt idx="12">
                  <c:v>6</c:v>
                </c:pt>
                <c:pt idx="13">
                  <c:v>6</c:v>
                </c:pt>
                <c:pt idx="14">
                  <c:v>5.5</c:v>
                </c:pt>
                <c:pt idx="15">
                  <c:v>6</c:v>
                </c:pt>
                <c:pt idx="16">
                  <c:v>6</c:v>
                </c:pt>
                <c:pt idx="17">
                  <c:v>5.5</c:v>
                </c:pt>
                <c:pt idx="18">
                  <c:v>5.5</c:v>
                </c:pt>
                <c:pt idx="19">
                  <c:v>3</c:v>
                </c:pt>
                <c:pt idx="20">
                  <c:v>5.5</c:v>
                </c:pt>
                <c:pt idx="21">
                  <c:v>3</c:v>
                </c:pt>
                <c:pt idx="22">
                  <c:v>3</c:v>
                </c:pt>
                <c:pt idx="23">
                  <c:v>5.5</c:v>
                </c:pt>
                <c:pt idx="24">
                  <c:v>3</c:v>
                </c:pt>
                <c:pt idx="25">
                  <c:v>1.5</c:v>
                </c:pt>
                <c:pt idx="26">
                  <c:v>1.5</c:v>
                </c:pt>
                <c:pt idx="27">
                  <c:v>5.5</c:v>
                </c:pt>
                <c:pt idx="28">
                  <c:v>5.5</c:v>
                </c:pt>
                <c:pt idx="29">
                  <c:v>3.5</c:v>
                </c:pt>
                <c:pt idx="30">
                  <c:v>5.5</c:v>
                </c:pt>
                <c:pt idx="31">
                  <c:v>3.5</c:v>
                </c:pt>
                <c:pt idx="32">
                  <c:v>5.5</c:v>
                </c:pt>
                <c:pt idx="33">
                  <c:v>5.5</c:v>
                </c:pt>
                <c:pt idx="34">
                  <c:v>3.5</c:v>
                </c:pt>
                <c:pt idx="35">
                  <c:v>5.5</c:v>
                </c:pt>
                <c:pt idx="36">
                  <c:v>1</c:v>
                </c:pt>
                <c:pt idx="37">
                  <c:v>1</c:v>
                </c:pt>
                <c:pt idx="38">
                  <c:v>1</c:v>
                </c:pt>
                <c:pt idx="39">
                  <c:v>1</c:v>
                </c:pt>
                <c:pt idx="40">
                  <c:v>1</c:v>
                </c:pt>
                <c:pt idx="41">
                  <c:v>5.5</c:v>
                </c:pt>
                <c:pt idx="42">
                  <c:v>1</c:v>
                </c:pt>
                <c:pt idx="43">
                  <c:v>5.5</c:v>
                </c:pt>
                <c:pt idx="44">
                  <c:v>1</c:v>
                </c:pt>
                <c:pt idx="45">
                  <c:v>4</c:v>
                </c:pt>
                <c:pt idx="46">
                  <c:v>5.5</c:v>
                </c:pt>
                <c:pt idx="47">
                  <c:v>1</c:v>
                </c:pt>
                <c:pt idx="48">
                  <c:v>5.5</c:v>
                </c:pt>
                <c:pt idx="49">
                  <c:v>1</c:v>
                </c:pt>
                <c:pt idx="50">
                  <c:v>5.5</c:v>
                </c:pt>
                <c:pt idx="51">
                  <c:v>1</c:v>
                </c:pt>
                <c:pt idx="52">
                  <c:v>5.5</c:v>
                </c:pt>
                <c:pt idx="53">
                  <c:v>5.5</c:v>
                </c:pt>
                <c:pt idx="54">
                  <c:v>4</c:v>
                </c:pt>
                <c:pt idx="55">
                  <c:v>5.5</c:v>
                </c:pt>
                <c:pt idx="56">
                  <c:v>4</c:v>
                </c:pt>
                <c:pt idx="57">
                  <c:v>5.5</c:v>
                </c:pt>
                <c:pt idx="58">
                  <c:v>2</c:v>
                </c:pt>
                <c:pt idx="59">
                  <c:v>4</c:v>
                </c:pt>
                <c:pt idx="60">
                  <c:v>5.5</c:v>
                </c:pt>
                <c:pt idx="61">
                  <c:v>2</c:v>
                </c:pt>
                <c:pt idx="62">
                  <c:v>6</c:v>
                </c:pt>
                <c:pt idx="63">
                  <c:v>5.5</c:v>
                </c:pt>
                <c:pt idx="64">
                  <c:v>2</c:v>
                </c:pt>
                <c:pt idx="65">
                  <c:v>5.5</c:v>
                </c:pt>
                <c:pt idx="66">
                  <c:v>5.5</c:v>
                </c:pt>
                <c:pt idx="67">
                  <c:v>5.5</c:v>
                </c:pt>
                <c:pt idx="68">
                  <c:v>2</c:v>
                </c:pt>
                <c:pt idx="69">
                  <c:v>5.5</c:v>
                </c:pt>
                <c:pt idx="70">
                  <c:v>5.5</c:v>
                </c:pt>
                <c:pt idx="71">
                  <c:v>5.5</c:v>
                </c:pt>
                <c:pt idx="72">
                  <c:v>5.5</c:v>
                </c:pt>
                <c:pt idx="73">
                  <c:v>6</c:v>
                </c:pt>
                <c:pt idx="74">
                  <c:v>5.5</c:v>
                </c:pt>
                <c:pt idx="75">
                  <c:v>6</c:v>
                </c:pt>
                <c:pt idx="76">
                  <c:v>5.5</c:v>
                </c:pt>
                <c:pt idx="77">
                  <c:v>5.5</c:v>
                </c:pt>
                <c:pt idx="78">
                  <c:v>5.5</c:v>
                </c:pt>
                <c:pt idx="79">
                  <c:v>2</c:v>
                </c:pt>
                <c:pt idx="80">
                  <c:v>6</c:v>
                </c:pt>
                <c:pt idx="81">
                  <c:v>5.5</c:v>
                </c:pt>
                <c:pt idx="82">
                  <c:v>6</c:v>
                </c:pt>
                <c:pt idx="83">
                  <c:v>5.5</c:v>
                </c:pt>
                <c:pt idx="84">
                  <c:v>5.5</c:v>
                </c:pt>
                <c:pt idx="85">
                  <c:v>6</c:v>
                </c:pt>
                <c:pt idx="86">
                  <c:v>5.5</c:v>
                </c:pt>
                <c:pt idx="87">
                  <c:v>6</c:v>
                </c:pt>
                <c:pt idx="88">
                  <c:v>5.5</c:v>
                </c:pt>
                <c:pt idx="89">
                  <c:v>2</c:v>
                </c:pt>
                <c:pt idx="90">
                  <c:v>5.5</c:v>
                </c:pt>
                <c:pt idx="91">
                  <c:v>2</c:v>
                </c:pt>
                <c:pt idx="92">
                  <c:v>5</c:v>
                </c:pt>
                <c:pt idx="93">
                  <c:v>2</c:v>
                </c:pt>
                <c:pt idx="94">
                  <c:v>2</c:v>
                </c:pt>
                <c:pt idx="95">
                  <c:v>5.5</c:v>
                </c:pt>
                <c:pt idx="96">
                  <c:v>2</c:v>
                </c:pt>
                <c:pt idx="97">
                  <c:v>5.5</c:v>
                </c:pt>
                <c:pt idx="98">
                  <c:v>2</c:v>
                </c:pt>
                <c:pt idx="99">
                  <c:v>5.5</c:v>
                </c:pt>
                <c:pt idx="100">
                  <c:v>2</c:v>
                </c:pt>
                <c:pt idx="101">
                  <c:v>2</c:v>
                </c:pt>
                <c:pt idx="102">
                  <c:v>5.5</c:v>
                </c:pt>
                <c:pt idx="103">
                  <c:v>5.5</c:v>
                </c:pt>
                <c:pt idx="104">
                  <c:v>5.5</c:v>
                </c:pt>
                <c:pt idx="105">
                  <c:v>5.5</c:v>
                </c:pt>
                <c:pt idx="106">
                  <c:v>5.5</c:v>
                </c:pt>
                <c:pt idx="107">
                  <c:v>5.5</c:v>
                </c:pt>
                <c:pt idx="108">
                  <c:v>5.5</c:v>
                </c:pt>
                <c:pt idx="109">
                  <c:v>5.5</c:v>
                </c:pt>
                <c:pt idx="110">
                  <c:v>5.5</c:v>
                </c:pt>
                <c:pt idx="111">
                  <c:v>5.5</c:v>
                </c:pt>
                <c:pt idx="112">
                  <c:v>5.5</c:v>
                </c:pt>
                <c:pt idx="113">
                  <c:v>5.5</c:v>
                </c:pt>
                <c:pt idx="114">
                  <c:v>5.5</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7.1999999999999993"/>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0.05</c:v>
                </c:pt>
                <c:pt idx="1">
                  <c:v>0</c:v>
                </c:pt>
                <c:pt idx="2">
                  <c:v>0</c:v>
                </c:pt>
                <c:pt idx="3">
                  <c:v>0</c:v>
                </c:pt>
                <c:pt idx="4">
                  <c:v>0.1</c:v>
                </c:pt>
                <c:pt idx="5">
                  <c:v>0</c:v>
                </c:pt>
                <c:pt idx="6">
                  <c:v>0.1</c:v>
                </c:pt>
                <c:pt idx="7">
                  <c:v>0</c:v>
                </c:pt>
                <c:pt idx="8">
                  <c:v>0.05</c:v>
                </c:pt>
                <c:pt idx="9">
                  <c:v>0</c:v>
                </c:pt>
                <c:pt idx="10">
                  <c:v>0.05</c:v>
                </c:pt>
                <c:pt idx="11">
                  <c:v>0</c:v>
                </c:pt>
                <c:pt idx="12">
                  <c:v>0</c:v>
                </c:pt>
                <c:pt idx="13">
                  <c:v>-0.1</c:v>
                </c:pt>
                <c:pt idx="14">
                  <c:v>-0.1</c:v>
                </c:pt>
                <c:pt idx="15">
                  <c:v>0</c:v>
                </c:pt>
                <c:pt idx="16">
                  <c:v>0.1</c:v>
                </c:pt>
                <c:pt idx="17">
                  <c:v>0.2</c:v>
                </c:pt>
                <c:pt idx="18">
                  <c:v>0.2</c:v>
                </c:pt>
                <c:pt idx="19">
                  <c:v>0.15</c:v>
                </c:pt>
                <c:pt idx="20">
                  <c:v>0.15</c:v>
                </c:pt>
                <c:pt idx="21">
                  <c:v>0.15</c:v>
                </c:pt>
                <c:pt idx="22">
                  <c:v>0.1</c:v>
                </c:pt>
                <c:pt idx="23">
                  <c:v>0.2</c:v>
                </c:pt>
                <c:pt idx="24">
                  <c:v>0.05</c:v>
                </c:pt>
                <c:pt idx="25">
                  <c:v>0.05</c:v>
                </c:pt>
                <c:pt idx="26">
                  <c:v>0.2</c:v>
                </c:pt>
                <c:pt idx="27">
                  <c:v>0.2</c:v>
                </c:pt>
                <c:pt idx="28">
                  <c:v>0.1</c:v>
                </c:pt>
                <c:pt idx="29">
                  <c:v>0.2</c:v>
                </c:pt>
                <c:pt idx="30">
                  <c:v>0.1</c:v>
                </c:pt>
                <c:pt idx="31">
                  <c:v>0.1</c:v>
                </c:pt>
                <c:pt idx="32">
                  <c:v>0.1</c:v>
                </c:pt>
                <c:pt idx="33">
                  <c:v>0</c:v>
                </c:pt>
                <c:pt idx="34">
                  <c:v>0</c:v>
                </c:pt>
                <c:pt idx="35">
                  <c:v>0</c:v>
                </c:pt>
                <c:pt idx="36">
                  <c:v>0.05</c:v>
                </c:pt>
                <c:pt idx="37">
                  <c:v>0</c:v>
                </c:pt>
                <c:pt idx="38">
                  <c:v>0.15</c:v>
                </c:pt>
                <c:pt idx="39">
                  <c:v>0</c:v>
                </c:pt>
                <c:pt idx="40">
                  <c:v>0.15</c:v>
                </c:pt>
                <c:pt idx="41">
                  <c:v>0</c:v>
                </c:pt>
                <c:pt idx="42">
                  <c:v>0.15</c:v>
                </c:pt>
                <c:pt idx="43">
                  <c:v>0.05</c:v>
                </c:pt>
                <c:pt idx="44">
                  <c:v>0.1</c:v>
                </c:pt>
                <c:pt idx="45">
                  <c:v>0.25</c:v>
                </c:pt>
                <c:pt idx="46">
                  <c:v>0.25</c:v>
                </c:pt>
                <c:pt idx="47">
                  <c:v>0.2</c:v>
                </c:pt>
                <c:pt idx="48">
                  <c:v>0.2</c:v>
                </c:pt>
                <c:pt idx="49">
                  <c:v>0.05</c:v>
                </c:pt>
                <c:pt idx="50">
                  <c:v>-0.05</c:v>
                </c:pt>
                <c:pt idx="51">
                  <c:v>-0.05</c:v>
                </c:pt>
                <c:pt idx="52">
                  <c:v>0.2</c:v>
                </c:pt>
                <c:pt idx="53">
                  <c:v>0.05</c:v>
                </c:pt>
                <c:pt idx="54">
                  <c:v>0.15</c:v>
                </c:pt>
                <c:pt idx="55">
                  <c:v>0.1</c:v>
                </c:pt>
                <c:pt idx="56">
                  <c:v>0.1</c:v>
                </c:pt>
                <c:pt idx="57">
                  <c:v>0.1</c:v>
                </c:pt>
                <c:pt idx="58">
                  <c:v>0.2</c:v>
                </c:pt>
                <c:pt idx="59">
                  <c:v>0.2</c:v>
                </c:pt>
                <c:pt idx="60">
                  <c:v>0.2</c:v>
                </c:pt>
                <c:pt idx="61">
                  <c:v>0.2</c:v>
                </c:pt>
                <c:pt idx="62">
                  <c:v>0.2</c:v>
                </c:pt>
                <c:pt idx="63">
                  <c:v>0.15</c:v>
                </c:pt>
                <c:pt idx="64">
                  <c:v>0.15</c:v>
                </c:pt>
                <c:pt idx="65">
                  <c:v>0.05</c:v>
                </c:pt>
                <c:pt idx="66">
                  <c:v>0.05</c:v>
                </c:pt>
                <c:pt idx="67">
                  <c:v>0</c:v>
                </c:pt>
                <c:pt idx="68">
                  <c:v>0.1</c:v>
                </c:pt>
                <c:pt idx="69">
                  <c:v>0.1</c:v>
                </c:pt>
                <c:pt idx="70">
                  <c:v>0.15</c:v>
                </c:pt>
                <c:pt idx="71">
                  <c:v>0.15</c:v>
                </c:pt>
                <c:pt idx="72">
                  <c:v>0.15</c:v>
                </c:pt>
                <c:pt idx="73">
                  <c:v>0.2</c:v>
                </c:pt>
                <c:pt idx="74">
                  <c:v>0.4</c:v>
                </c:pt>
                <c:pt idx="75">
                  <c:v>0.15</c:v>
                </c:pt>
                <c:pt idx="76">
                  <c:v>0.15</c:v>
                </c:pt>
                <c:pt idx="77">
                  <c:v>0</c:v>
                </c:pt>
                <c:pt idx="78">
                  <c:v>0</c:v>
                </c:pt>
                <c:pt idx="79">
                  <c:v>0</c:v>
                </c:pt>
                <c:pt idx="80">
                  <c:v>0</c:v>
                </c:pt>
                <c:pt idx="81">
                  <c:v>0</c:v>
                </c:pt>
                <c:pt idx="82">
                  <c:v>0</c:v>
                </c:pt>
                <c:pt idx="83">
                  <c:v>0.15</c:v>
                </c:pt>
                <c:pt idx="84">
                  <c:v>0.2</c:v>
                </c:pt>
                <c:pt idx="85">
                  <c:v>0.2</c:v>
                </c:pt>
                <c:pt idx="86">
                  <c:v>0.25</c:v>
                </c:pt>
                <c:pt idx="87">
                  <c:v>0.15</c:v>
                </c:pt>
                <c:pt idx="88">
                  <c:v>0.25</c:v>
                </c:pt>
                <c:pt idx="89">
                  <c:v>0.2</c:v>
                </c:pt>
                <c:pt idx="90">
                  <c:v>0.15</c:v>
                </c:pt>
                <c:pt idx="91">
                  <c:v>0.15</c:v>
                </c:pt>
                <c:pt idx="92">
                  <c:v>0.15</c:v>
                </c:pt>
                <c:pt idx="93">
                  <c:v>0.2</c:v>
                </c:pt>
                <c:pt idx="94">
                  <c:v>0.1</c:v>
                </c:pt>
                <c:pt idx="95">
                  <c:v>0.05</c:v>
                </c:pt>
                <c:pt idx="96">
                  <c:v>0.1</c:v>
                </c:pt>
                <c:pt idx="97">
                  <c:v>0.15</c:v>
                </c:pt>
                <c:pt idx="98">
                  <c:v>0.15</c:v>
                </c:pt>
                <c:pt idx="99">
                  <c:v>0.3</c:v>
                </c:pt>
                <c:pt idx="100">
                  <c:v>0.3</c:v>
                </c:pt>
                <c:pt idx="101">
                  <c:v>0.3</c:v>
                </c:pt>
                <c:pt idx="102">
                  <c:v>0.15</c:v>
                </c:pt>
                <c:pt idx="103">
                  <c:v>0</c:v>
                </c:pt>
                <c:pt idx="104">
                  <c:v>0</c:v>
                </c:pt>
                <c:pt idx="105">
                  <c:v>0</c:v>
                </c:pt>
                <c:pt idx="106">
                  <c:v>0.05</c:v>
                </c:pt>
                <c:pt idx="107">
                  <c:v>0.1</c:v>
                </c:pt>
                <c:pt idx="108">
                  <c:v>0.1</c:v>
                </c:pt>
                <c:pt idx="109">
                  <c:v>0.2</c:v>
                </c:pt>
                <c:pt idx="110">
                  <c:v>0.2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23</c:v>
                </c:pt>
                <c:pt idx="1">
                  <c:v>23</c:v>
                </c:pt>
                <c:pt idx="2">
                  <c:v>22.5</c:v>
                </c:pt>
                <c:pt idx="3">
                  <c:v>22.5</c:v>
                </c:pt>
                <c:pt idx="4">
                  <c:v>23</c:v>
                </c:pt>
                <c:pt idx="5">
                  <c:v>22.5</c:v>
                </c:pt>
                <c:pt idx="6">
                  <c:v>23</c:v>
                </c:pt>
                <c:pt idx="7">
                  <c:v>22.5</c:v>
                </c:pt>
                <c:pt idx="8">
                  <c:v>23.5</c:v>
                </c:pt>
                <c:pt idx="9">
                  <c:v>22.5</c:v>
                </c:pt>
                <c:pt idx="10">
                  <c:v>24</c:v>
                </c:pt>
                <c:pt idx="11">
                  <c:v>22</c:v>
                </c:pt>
                <c:pt idx="12">
                  <c:v>22</c:v>
                </c:pt>
                <c:pt idx="13">
                  <c:v>24.5</c:v>
                </c:pt>
                <c:pt idx="14">
                  <c:v>24.5</c:v>
                </c:pt>
                <c:pt idx="15">
                  <c:v>22</c:v>
                </c:pt>
                <c:pt idx="16">
                  <c:v>20.5</c:v>
                </c:pt>
                <c:pt idx="17">
                  <c:v>19.5</c:v>
                </c:pt>
                <c:pt idx="18">
                  <c:v>19.5</c:v>
                </c:pt>
                <c:pt idx="19">
                  <c:v>19</c:v>
                </c:pt>
                <c:pt idx="20">
                  <c:v>18.5</c:v>
                </c:pt>
                <c:pt idx="21">
                  <c:v>19</c:v>
                </c:pt>
                <c:pt idx="22">
                  <c:v>20.5</c:v>
                </c:pt>
                <c:pt idx="23">
                  <c:v>20</c:v>
                </c:pt>
                <c:pt idx="24">
                  <c:v>21</c:v>
                </c:pt>
                <c:pt idx="25">
                  <c:v>21.5</c:v>
                </c:pt>
                <c:pt idx="26">
                  <c:v>18</c:v>
                </c:pt>
                <c:pt idx="27">
                  <c:v>18</c:v>
                </c:pt>
                <c:pt idx="28">
                  <c:v>19.5</c:v>
                </c:pt>
                <c:pt idx="29">
                  <c:v>18</c:v>
                </c:pt>
                <c:pt idx="30">
                  <c:v>19.5</c:v>
                </c:pt>
                <c:pt idx="31">
                  <c:v>19.5</c:v>
                </c:pt>
                <c:pt idx="32">
                  <c:v>19.5</c:v>
                </c:pt>
                <c:pt idx="33">
                  <c:v>22</c:v>
                </c:pt>
                <c:pt idx="34">
                  <c:v>22.5</c:v>
                </c:pt>
                <c:pt idx="35">
                  <c:v>22.5</c:v>
                </c:pt>
                <c:pt idx="36">
                  <c:v>22</c:v>
                </c:pt>
                <c:pt idx="37">
                  <c:v>22.5</c:v>
                </c:pt>
                <c:pt idx="38">
                  <c:v>21</c:v>
                </c:pt>
                <c:pt idx="39">
                  <c:v>22.5</c:v>
                </c:pt>
                <c:pt idx="40">
                  <c:v>21</c:v>
                </c:pt>
                <c:pt idx="41">
                  <c:v>22.5</c:v>
                </c:pt>
                <c:pt idx="42">
                  <c:v>20.5</c:v>
                </c:pt>
                <c:pt idx="43">
                  <c:v>21</c:v>
                </c:pt>
                <c:pt idx="44">
                  <c:v>20</c:v>
                </c:pt>
                <c:pt idx="45">
                  <c:v>15</c:v>
                </c:pt>
                <c:pt idx="46">
                  <c:v>19</c:v>
                </c:pt>
                <c:pt idx="47">
                  <c:v>16.5</c:v>
                </c:pt>
                <c:pt idx="48">
                  <c:v>19.5</c:v>
                </c:pt>
                <c:pt idx="49">
                  <c:v>19.5</c:v>
                </c:pt>
                <c:pt idx="50">
                  <c:v>21</c:v>
                </c:pt>
                <c:pt idx="51">
                  <c:v>21</c:v>
                </c:pt>
                <c:pt idx="52">
                  <c:v>19</c:v>
                </c:pt>
                <c:pt idx="53">
                  <c:v>19</c:v>
                </c:pt>
                <c:pt idx="54">
                  <c:v>20</c:v>
                </c:pt>
                <c:pt idx="55">
                  <c:v>22.5</c:v>
                </c:pt>
                <c:pt idx="56">
                  <c:v>18</c:v>
                </c:pt>
                <c:pt idx="57">
                  <c:v>18</c:v>
                </c:pt>
                <c:pt idx="58">
                  <c:v>16.5</c:v>
                </c:pt>
                <c:pt idx="59">
                  <c:v>16.5</c:v>
                </c:pt>
                <c:pt idx="60">
                  <c:v>16.5</c:v>
                </c:pt>
                <c:pt idx="61">
                  <c:v>16.5</c:v>
                </c:pt>
                <c:pt idx="62">
                  <c:v>16</c:v>
                </c:pt>
                <c:pt idx="63">
                  <c:v>17.5</c:v>
                </c:pt>
                <c:pt idx="64">
                  <c:v>20</c:v>
                </c:pt>
                <c:pt idx="65">
                  <c:v>19.5</c:v>
                </c:pt>
                <c:pt idx="66">
                  <c:v>21</c:v>
                </c:pt>
                <c:pt idx="67">
                  <c:v>20</c:v>
                </c:pt>
                <c:pt idx="68">
                  <c:v>18.5</c:v>
                </c:pt>
                <c:pt idx="69">
                  <c:v>18.5</c:v>
                </c:pt>
                <c:pt idx="70">
                  <c:v>21.5</c:v>
                </c:pt>
                <c:pt idx="71">
                  <c:v>17</c:v>
                </c:pt>
                <c:pt idx="72">
                  <c:v>20.5</c:v>
                </c:pt>
                <c:pt idx="73">
                  <c:v>16</c:v>
                </c:pt>
                <c:pt idx="74">
                  <c:v>15</c:v>
                </c:pt>
                <c:pt idx="75">
                  <c:v>17.5</c:v>
                </c:pt>
                <c:pt idx="76">
                  <c:v>21.5</c:v>
                </c:pt>
                <c:pt idx="77">
                  <c:v>20</c:v>
                </c:pt>
                <c:pt idx="78">
                  <c:v>20</c:v>
                </c:pt>
                <c:pt idx="79">
                  <c:v>20</c:v>
                </c:pt>
                <c:pt idx="80">
                  <c:v>20</c:v>
                </c:pt>
                <c:pt idx="81">
                  <c:v>20.5</c:v>
                </c:pt>
                <c:pt idx="82">
                  <c:v>20</c:v>
                </c:pt>
                <c:pt idx="83">
                  <c:v>17.5</c:v>
                </c:pt>
                <c:pt idx="84">
                  <c:v>21</c:v>
                </c:pt>
                <c:pt idx="85">
                  <c:v>16</c:v>
                </c:pt>
                <c:pt idx="86">
                  <c:v>20</c:v>
                </c:pt>
                <c:pt idx="87">
                  <c:v>17.5</c:v>
                </c:pt>
                <c:pt idx="88">
                  <c:v>20</c:v>
                </c:pt>
                <c:pt idx="89">
                  <c:v>16.5</c:v>
                </c:pt>
                <c:pt idx="90">
                  <c:v>21.5</c:v>
                </c:pt>
                <c:pt idx="91">
                  <c:v>16.5</c:v>
                </c:pt>
                <c:pt idx="92">
                  <c:v>16.5</c:v>
                </c:pt>
                <c:pt idx="93">
                  <c:v>16.5</c:v>
                </c:pt>
                <c:pt idx="94">
                  <c:v>18.5</c:v>
                </c:pt>
                <c:pt idx="95">
                  <c:v>19.5</c:v>
                </c:pt>
                <c:pt idx="96">
                  <c:v>18</c:v>
                </c:pt>
                <c:pt idx="97">
                  <c:v>17</c:v>
                </c:pt>
                <c:pt idx="98">
                  <c:v>17.5</c:v>
                </c:pt>
                <c:pt idx="99">
                  <c:v>14</c:v>
                </c:pt>
                <c:pt idx="100">
                  <c:v>14</c:v>
                </c:pt>
                <c:pt idx="101">
                  <c:v>14</c:v>
                </c:pt>
                <c:pt idx="102">
                  <c:v>16.5</c:v>
                </c:pt>
                <c:pt idx="103">
                  <c:v>20</c:v>
                </c:pt>
                <c:pt idx="104">
                  <c:v>20</c:v>
                </c:pt>
                <c:pt idx="105">
                  <c:v>20</c:v>
                </c:pt>
                <c:pt idx="106">
                  <c:v>19</c:v>
                </c:pt>
                <c:pt idx="107">
                  <c:v>18.5</c:v>
                </c:pt>
                <c:pt idx="108">
                  <c:v>18</c:v>
                </c:pt>
                <c:pt idx="109">
                  <c:v>16</c:v>
                </c:pt>
                <c:pt idx="110">
                  <c:v>15.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9.4"/>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0.1</c:v>
                </c:pt>
                <c:pt idx="1">
                  <c:v>0.1</c:v>
                </c:pt>
                <c:pt idx="2">
                  <c:v>0.05</c:v>
                </c:pt>
                <c:pt idx="3">
                  <c:v>0.05</c:v>
                </c:pt>
                <c:pt idx="4">
                  <c:v>0.05</c:v>
                </c:pt>
                <c:pt idx="5">
                  <c:v>0.1</c:v>
                </c:pt>
                <c:pt idx="6">
                  <c:v>0.1</c:v>
                </c:pt>
                <c:pt idx="7">
                  <c:v>0.1</c:v>
                </c:pt>
                <c:pt idx="8">
                  <c:v>0.1</c:v>
                </c:pt>
                <c:pt idx="9">
                  <c:v>0.1</c:v>
                </c:pt>
                <c:pt idx="10">
                  <c:v>0.1</c:v>
                </c:pt>
                <c:pt idx="11">
                  <c:v>0.1</c:v>
                </c:pt>
                <c:pt idx="12">
                  <c:v>0.1</c:v>
                </c:pt>
                <c:pt idx="13">
                  <c:v>0.1</c:v>
                </c:pt>
                <c:pt idx="14">
                  <c:v>0.1</c:v>
                </c:pt>
                <c:pt idx="15">
                  <c:v>0.1</c:v>
                </c:pt>
                <c:pt idx="16">
                  <c:v>0.1</c:v>
                </c:pt>
                <c:pt idx="17">
                  <c:v>0.1</c:v>
                </c:pt>
                <c:pt idx="18">
                  <c:v>0</c:v>
                </c:pt>
                <c:pt idx="19">
                  <c:v>0.1</c:v>
                </c:pt>
                <c:pt idx="20">
                  <c:v>0</c:v>
                </c:pt>
                <c:pt idx="21">
                  <c:v>0</c:v>
                </c:pt>
                <c:pt idx="22">
                  <c:v>0.05</c:v>
                </c:pt>
                <c:pt idx="23">
                  <c:v>0</c:v>
                </c:pt>
                <c:pt idx="24">
                  <c:v>0</c:v>
                </c:pt>
                <c:pt idx="25">
                  <c:v>0</c:v>
                </c:pt>
                <c:pt idx="26">
                  <c:v>0.1</c:v>
                </c:pt>
                <c:pt idx="27">
                  <c:v>0</c:v>
                </c:pt>
                <c:pt idx="28">
                  <c:v>0</c:v>
                </c:pt>
                <c:pt idx="29">
                  <c:v>0.1</c:v>
                </c:pt>
                <c:pt idx="30">
                  <c:v>0</c:v>
                </c:pt>
                <c:pt idx="31">
                  <c:v>0.1</c:v>
                </c:pt>
                <c:pt idx="32">
                  <c:v>0</c:v>
                </c:pt>
                <c:pt idx="33">
                  <c:v>0.15</c:v>
                </c:pt>
                <c:pt idx="34">
                  <c:v>0.1</c:v>
                </c:pt>
                <c:pt idx="35">
                  <c:v>0.05</c:v>
                </c:pt>
                <c:pt idx="36">
                  <c:v>0.55000000000000004</c:v>
                </c:pt>
                <c:pt idx="37">
                  <c:v>0</c:v>
                </c:pt>
                <c:pt idx="38">
                  <c:v>0.55000000000000004</c:v>
                </c:pt>
                <c:pt idx="39">
                  <c:v>0.5</c:v>
                </c:pt>
                <c:pt idx="40">
                  <c:v>0</c:v>
                </c:pt>
                <c:pt idx="41">
                  <c:v>0.4</c:v>
                </c:pt>
                <c:pt idx="42">
                  <c:v>0.1</c:v>
                </c:pt>
                <c:pt idx="43">
                  <c:v>0.05</c:v>
                </c:pt>
                <c:pt idx="44">
                  <c:v>0.05</c:v>
                </c:pt>
                <c:pt idx="45">
                  <c:v>0.05</c:v>
                </c:pt>
                <c:pt idx="46">
                  <c:v>0</c:v>
                </c:pt>
                <c:pt idx="47">
                  <c:v>0.05</c:v>
                </c:pt>
                <c:pt idx="48">
                  <c:v>0.15</c:v>
                </c:pt>
                <c:pt idx="49">
                  <c:v>0.15</c:v>
                </c:pt>
                <c:pt idx="50">
                  <c:v>0.05</c:v>
                </c:pt>
                <c:pt idx="51">
                  <c:v>0.05</c:v>
                </c:pt>
                <c:pt idx="52">
                  <c:v>0.1</c:v>
                </c:pt>
                <c:pt idx="53">
                  <c:v>0.05</c:v>
                </c:pt>
                <c:pt idx="54">
                  <c:v>0.05</c:v>
                </c:pt>
                <c:pt idx="55">
                  <c:v>0.1</c:v>
                </c:pt>
                <c:pt idx="56">
                  <c:v>0</c:v>
                </c:pt>
                <c:pt idx="57">
                  <c:v>0.05</c:v>
                </c:pt>
                <c:pt idx="58">
                  <c:v>0.05</c:v>
                </c:pt>
                <c:pt idx="59">
                  <c:v>0.05</c:v>
                </c:pt>
                <c:pt idx="60">
                  <c:v>0.1</c:v>
                </c:pt>
                <c:pt idx="61">
                  <c:v>0.15</c:v>
                </c:pt>
                <c:pt idx="62">
                  <c:v>0.05</c:v>
                </c:pt>
                <c:pt idx="63">
                  <c:v>0</c:v>
                </c:pt>
                <c:pt idx="64">
                  <c:v>0.1</c:v>
                </c:pt>
                <c:pt idx="65">
                  <c:v>0.1</c:v>
                </c:pt>
                <c:pt idx="66">
                  <c:v>0.05</c:v>
                </c:pt>
                <c:pt idx="67">
                  <c:v>0</c:v>
                </c:pt>
                <c:pt idx="68">
                  <c:v>0.2</c:v>
                </c:pt>
                <c:pt idx="69">
                  <c:v>0.05</c:v>
                </c:pt>
                <c:pt idx="70">
                  <c:v>0.1</c:v>
                </c:pt>
                <c:pt idx="71">
                  <c:v>0.05</c:v>
                </c:pt>
                <c:pt idx="72">
                  <c:v>0.2</c:v>
                </c:pt>
                <c:pt idx="73">
                  <c:v>0.25</c:v>
                </c:pt>
                <c:pt idx="74">
                  <c:v>0.05</c:v>
                </c:pt>
                <c:pt idx="75">
                  <c:v>0.1</c:v>
                </c:pt>
                <c:pt idx="76">
                  <c:v>0.1</c:v>
                </c:pt>
                <c:pt idx="77">
                  <c:v>0.15</c:v>
                </c:pt>
                <c:pt idx="78">
                  <c:v>0.05</c:v>
                </c:pt>
                <c:pt idx="79">
                  <c:v>0.15</c:v>
                </c:pt>
                <c:pt idx="80">
                  <c:v>0.05</c:v>
                </c:pt>
                <c:pt idx="81">
                  <c:v>0.15</c:v>
                </c:pt>
                <c:pt idx="82">
                  <c:v>0.1</c:v>
                </c:pt>
                <c:pt idx="83">
                  <c:v>0</c:v>
                </c:pt>
                <c:pt idx="84">
                  <c:v>0.05</c:v>
                </c:pt>
                <c:pt idx="85">
                  <c:v>0.2</c:v>
                </c:pt>
                <c:pt idx="86">
                  <c:v>0.05</c:v>
                </c:pt>
                <c:pt idx="87">
                  <c:v>0.05</c:v>
                </c:pt>
                <c:pt idx="88">
                  <c:v>0.1</c:v>
                </c:pt>
                <c:pt idx="89">
                  <c:v>0.1</c:v>
                </c:pt>
                <c:pt idx="90">
                  <c:v>0.05</c:v>
                </c:pt>
                <c:pt idx="91">
                  <c:v>0.1</c:v>
                </c:pt>
                <c:pt idx="92">
                  <c:v>0.15</c:v>
                </c:pt>
                <c:pt idx="93">
                  <c:v>0.05</c:v>
                </c:pt>
                <c:pt idx="94">
                  <c:v>0</c:v>
                </c:pt>
                <c:pt idx="95">
                  <c:v>0.05</c:v>
                </c:pt>
                <c:pt idx="96">
                  <c:v>0.1</c:v>
                </c:pt>
                <c:pt idx="97">
                  <c:v>0.05</c:v>
                </c:pt>
                <c:pt idx="98">
                  <c:v>0.2</c:v>
                </c:pt>
                <c:pt idx="99">
                  <c:v>0.05</c:v>
                </c:pt>
                <c:pt idx="100">
                  <c:v>0.15</c:v>
                </c:pt>
                <c:pt idx="101">
                  <c:v>0.1</c:v>
                </c:pt>
                <c:pt idx="102">
                  <c:v>0.05</c:v>
                </c:pt>
                <c:pt idx="103">
                  <c:v>0</c:v>
                </c:pt>
                <c:pt idx="104">
                  <c:v>0.1</c:v>
                </c:pt>
                <c:pt idx="105">
                  <c:v>0.05</c:v>
                </c:pt>
                <c:pt idx="106">
                  <c:v>0.25</c:v>
                </c:pt>
                <c:pt idx="107">
                  <c:v>0.1</c:v>
                </c:pt>
                <c:pt idx="108">
                  <c:v>0</c:v>
                </c:pt>
                <c:pt idx="109">
                  <c:v>0.05</c:v>
                </c:pt>
                <c:pt idx="110">
                  <c:v>0.05</c:v>
                </c:pt>
                <c:pt idx="111">
                  <c:v>0.15</c:v>
                </c:pt>
                <c:pt idx="112">
                  <c:v>0</c:v>
                </c:pt>
                <c:pt idx="113">
                  <c:v>0</c:v>
                </c:pt>
                <c:pt idx="114">
                  <c:v>0.1</c:v>
                </c:pt>
                <c:pt idx="115">
                  <c:v>0.05</c:v>
                </c:pt>
                <c:pt idx="116">
                  <c:v>0.1</c:v>
                </c:pt>
                <c:pt idx="117">
                  <c:v>0</c:v>
                </c:pt>
                <c:pt idx="118">
                  <c:v>0</c:v>
                </c:pt>
                <c:pt idx="119">
                  <c:v>0</c:v>
                </c:pt>
                <c:pt idx="120">
                  <c:v>0</c:v>
                </c:pt>
                <c:pt idx="121">
                  <c:v>0</c:v>
                </c:pt>
                <c:pt idx="122">
                  <c:v>0</c:v>
                </c:pt>
                <c:pt idx="123">
                  <c:v>0.05</c:v>
                </c:pt>
                <c:pt idx="124">
                  <c:v>0.05</c:v>
                </c:pt>
                <c:pt idx="125">
                  <c:v>0.05</c:v>
                </c:pt>
                <c:pt idx="126">
                  <c:v>0.05</c:v>
                </c:pt>
                <c:pt idx="127">
                  <c:v>0</c:v>
                </c:pt>
                <c:pt idx="128">
                  <c:v>0.2</c:v>
                </c:pt>
                <c:pt idx="129">
                  <c:v>0.1</c:v>
                </c:pt>
                <c:pt idx="130">
                  <c:v>0.2</c:v>
                </c:pt>
                <c:pt idx="131">
                  <c:v>0.05</c:v>
                </c:pt>
                <c:pt idx="132">
                  <c:v>0</c:v>
                </c:pt>
                <c:pt idx="133">
                  <c:v>0</c:v>
                </c:pt>
                <c:pt idx="134">
                  <c:v>0.1</c:v>
                </c:pt>
                <c:pt idx="135">
                  <c:v>0.05</c:v>
                </c:pt>
                <c:pt idx="136">
                  <c:v>0</c:v>
                </c:pt>
                <c:pt idx="137">
                  <c:v>0.3</c:v>
                </c:pt>
                <c:pt idx="138">
                  <c:v>0.05</c:v>
                </c:pt>
                <c:pt idx="139">
                  <c:v>0.1</c:v>
                </c:pt>
                <c:pt idx="140">
                  <c:v>0.1</c:v>
                </c:pt>
                <c:pt idx="141">
                  <c:v>0.05</c:v>
                </c:pt>
                <c:pt idx="142">
                  <c:v>0.1</c:v>
                </c:pt>
                <c:pt idx="143">
                  <c:v>0.2</c:v>
                </c:pt>
                <c:pt idx="144">
                  <c:v>0.05</c:v>
                </c:pt>
                <c:pt idx="145">
                  <c:v>0.1</c:v>
                </c:pt>
                <c:pt idx="146">
                  <c:v>0.05</c:v>
                </c:pt>
                <c:pt idx="147">
                  <c:v>0.1</c:v>
                </c:pt>
                <c:pt idx="148">
                  <c:v>0.05</c:v>
                </c:pt>
                <c:pt idx="149">
                  <c:v>0.2</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66"/>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6</c:v>
                </c:pt>
                <c:pt idx="1">
                  <c:v>10</c:v>
                </c:pt>
                <c:pt idx="2">
                  <c:v>6</c:v>
                </c:pt>
                <c:pt idx="3">
                  <c:v>6</c:v>
                </c:pt>
                <c:pt idx="4">
                  <c:v>10</c:v>
                </c:pt>
                <c:pt idx="5">
                  <c:v>6</c:v>
                </c:pt>
                <c:pt idx="6">
                  <c:v>10</c:v>
                </c:pt>
                <c:pt idx="7">
                  <c:v>6</c:v>
                </c:pt>
                <c:pt idx="8">
                  <c:v>6</c:v>
                </c:pt>
                <c:pt idx="9">
                  <c:v>6</c:v>
                </c:pt>
                <c:pt idx="10">
                  <c:v>6</c:v>
                </c:pt>
                <c:pt idx="11">
                  <c:v>6</c:v>
                </c:pt>
                <c:pt idx="12">
                  <c:v>6</c:v>
                </c:pt>
                <c:pt idx="13">
                  <c:v>6</c:v>
                </c:pt>
                <c:pt idx="14">
                  <c:v>6</c:v>
                </c:pt>
                <c:pt idx="15">
                  <c:v>6</c:v>
                </c:pt>
                <c:pt idx="16">
                  <c:v>6</c:v>
                </c:pt>
                <c:pt idx="17">
                  <c:v>6</c:v>
                </c:pt>
                <c:pt idx="18">
                  <c:v>10</c:v>
                </c:pt>
                <c:pt idx="19">
                  <c:v>6</c:v>
                </c:pt>
                <c:pt idx="20">
                  <c:v>10</c:v>
                </c:pt>
                <c:pt idx="21">
                  <c:v>10</c:v>
                </c:pt>
                <c:pt idx="22">
                  <c:v>6</c:v>
                </c:pt>
                <c:pt idx="23">
                  <c:v>10</c:v>
                </c:pt>
                <c:pt idx="24">
                  <c:v>10</c:v>
                </c:pt>
                <c:pt idx="25">
                  <c:v>10</c:v>
                </c:pt>
                <c:pt idx="26">
                  <c:v>10</c:v>
                </c:pt>
                <c:pt idx="27">
                  <c:v>10</c:v>
                </c:pt>
                <c:pt idx="28">
                  <c:v>10</c:v>
                </c:pt>
                <c:pt idx="29">
                  <c:v>6</c:v>
                </c:pt>
                <c:pt idx="30">
                  <c:v>10.5</c:v>
                </c:pt>
                <c:pt idx="31">
                  <c:v>6</c:v>
                </c:pt>
                <c:pt idx="32">
                  <c:v>10</c:v>
                </c:pt>
                <c:pt idx="33">
                  <c:v>5.5</c:v>
                </c:pt>
                <c:pt idx="34">
                  <c:v>6</c:v>
                </c:pt>
                <c:pt idx="35">
                  <c:v>10.5</c:v>
                </c:pt>
                <c:pt idx="36">
                  <c:v>3</c:v>
                </c:pt>
                <c:pt idx="37">
                  <c:v>10</c:v>
                </c:pt>
                <c:pt idx="38">
                  <c:v>5</c:v>
                </c:pt>
                <c:pt idx="39">
                  <c:v>3</c:v>
                </c:pt>
                <c:pt idx="40">
                  <c:v>10</c:v>
                </c:pt>
                <c:pt idx="41">
                  <c:v>6</c:v>
                </c:pt>
                <c:pt idx="42">
                  <c:v>6</c:v>
                </c:pt>
                <c:pt idx="43">
                  <c:v>6.5</c:v>
                </c:pt>
                <c:pt idx="44">
                  <c:v>10.5</c:v>
                </c:pt>
                <c:pt idx="45">
                  <c:v>14</c:v>
                </c:pt>
                <c:pt idx="46">
                  <c:v>6.5</c:v>
                </c:pt>
                <c:pt idx="47">
                  <c:v>6</c:v>
                </c:pt>
                <c:pt idx="48">
                  <c:v>9.5</c:v>
                </c:pt>
                <c:pt idx="49">
                  <c:v>13</c:v>
                </c:pt>
                <c:pt idx="50">
                  <c:v>6.5</c:v>
                </c:pt>
                <c:pt idx="51">
                  <c:v>6</c:v>
                </c:pt>
                <c:pt idx="52">
                  <c:v>10</c:v>
                </c:pt>
                <c:pt idx="53">
                  <c:v>14.5</c:v>
                </c:pt>
                <c:pt idx="54">
                  <c:v>6</c:v>
                </c:pt>
                <c:pt idx="55">
                  <c:v>6</c:v>
                </c:pt>
                <c:pt idx="56">
                  <c:v>11</c:v>
                </c:pt>
                <c:pt idx="57">
                  <c:v>14.5</c:v>
                </c:pt>
                <c:pt idx="58">
                  <c:v>6</c:v>
                </c:pt>
                <c:pt idx="59">
                  <c:v>6</c:v>
                </c:pt>
                <c:pt idx="60">
                  <c:v>10</c:v>
                </c:pt>
                <c:pt idx="61">
                  <c:v>12.5</c:v>
                </c:pt>
                <c:pt idx="62">
                  <c:v>6.5</c:v>
                </c:pt>
                <c:pt idx="63">
                  <c:v>6.5</c:v>
                </c:pt>
                <c:pt idx="64">
                  <c:v>10</c:v>
                </c:pt>
                <c:pt idx="65">
                  <c:v>13.5</c:v>
                </c:pt>
                <c:pt idx="66">
                  <c:v>6</c:v>
                </c:pt>
                <c:pt idx="67">
                  <c:v>6.5</c:v>
                </c:pt>
                <c:pt idx="68">
                  <c:v>9</c:v>
                </c:pt>
                <c:pt idx="69">
                  <c:v>14.5</c:v>
                </c:pt>
                <c:pt idx="70">
                  <c:v>6</c:v>
                </c:pt>
                <c:pt idx="71">
                  <c:v>6</c:v>
                </c:pt>
                <c:pt idx="72">
                  <c:v>9</c:v>
                </c:pt>
                <c:pt idx="73">
                  <c:v>11</c:v>
                </c:pt>
                <c:pt idx="74">
                  <c:v>6</c:v>
                </c:pt>
                <c:pt idx="75">
                  <c:v>6</c:v>
                </c:pt>
                <c:pt idx="76">
                  <c:v>10</c:v>
                </c:pt>
                <c:pt idx="77">
                  <c:v>12.5</c:v>
                </c:pt>
                <c:pt idx="78">
                  <c:v>6</c:v>
                </c:pt>
                <c:pt idx="79">
                  <c:v>5.5</c:v>
                </c:pt>
                <c:pt idx="80">
                  <c:v>10.5</c:v>
                </c:pt>
                <c:pt idx="81">
                  <c:v>12.5</c:v>
                </c:pt>
                <c:pt idx="82">
                  <c:v>6</c:v>
                </c:pt>
                <c:pt idx="83">
                  <c:v>6.5</c:v>
                </c:pt>
                <c:pt idx="84">
                  <c:v>10.5</c:v>
                </c:pt>
                <c:pt idx="85">
                  <c:v>12</c:v>
                </c:pt>
                <c:pt idx="86">
                  <c:v>6.5</c:v>
                </c:pt>
                <c:pt idx="87">
                  <c:v>6</c:v>
                </c:pt>
                <c:pt idx="88">
                  <c:v>9.5</c:v>
                </c:pt>
                <c:pt idx="89">
                  <c:v>13.5</c:v>
                </c:pt>
                <c:pt idx="90">
                  <c:v>6</c:v>
                </c:pt>
                <c:pt idx="91">
                  <c:v>6</c:v>
                </c:pt>
                <c:pt idx="92">
                  <c:v>9.5</c:v>
                </c:pt>
                <c:pt idx="93">
                  <c:v>14.5</c:v>
                </c:pt>
                <c:pt idx="94">
                  <c:v>6.5</c:v>
                </c:pt>
                <c:pt idx="95">
                  <c:v>6.5</c:v>
                </c:pt>
                <c:pt idx="96">
                  <c:v>10</c:v>
                </c:pt>
                <c:pt idx="97">
                  <c:v>14</c:v>
                </c:pt>
                <c:pt idx="98">
                  <c:v>5.5</c:v>
                </c:pt>
                <c:pt idx="99">
                  <c:v>6</c:v>
                </c:pt>
                <c:pt idx="100">
                  <c:v>9.5</c:v>
                </c:pt>
                <c:pt idx="101">
                  <c:v>13.5</c:v>
                </c:pt>
                <c:pt idx="102">
                  <c:v>6.5</c:v>
                </c:pt>
                <c:pt idx="103">
                  <c:v>10</c:v>
                </c:pt>
                <c:pt idx="104">
                  <c:v>6</c:v>
                </c:pt>
                <c:pt idx="105">
                  <c:v>10.5</c:v>
                </c:pt>
                <c:pt idx="106">
                  <c:v>11</c:v>
                </c:pt>
                <c:pt idx="107">
                  <c:v>6</c:v>
                </c:pt>
                <c:pt idx="108">
                  <c:v>10</c:v>
                </c:pt>
                <c:pt idx="109">
                  <c:v>6</c:v>
                </c:pt>
                <c:pt idx="110">
                  <c:v>10.5</c:v>
                </c:pt>
                <c:pt idx="111">
                  <c:v>13</c:v>
                </c:pt>
                <c:pt idx="112">
                  <c:v>6.5</c:v>
                </c:pt>
                <c:pt idx="113">
                  <c:v>10</c:v>
                </c:pt>
                <c:pt idx="114">
                  <c:v>6</c:v>
                </c:pt>
                <c:pt idx="115">
                  <c:v>10.5</c:v>
                </c:pt>
                <c:pt idx="116">
                  <c:v>14</c:v>
                </c:pt>
                <c:pt idx="117">
                  <c:v>10</c:v>
                </c:pt>
                <c:pt idx="118">
                  <c:v>10</c:v>
                </c:pt>
                <c:pt idx="119">
                  <c:v>10</c:v>
                </c:pt>
                <c:pt idx="120">
                  <c:v>10</c:v>
                </c:pt>
                <c:pt idx="121">
                  <c:v>6.5</c:v>
                </c:pt>
                <c:pt idx="122">
                  <c:v>10</c:v>
                </c:pt>
                <c:pt idx="123">
                  <c:v>6</c:v>
                </c:pt>
                <c:pt idx="124">
                  <c:v>10.5</c:v>
                </c:pt>
                <c:pt idx="125">
                  <c:v>14.5</c:v>
                </c:pt>
                <c:pt idx="126">
                  <c:v>6</c:v>
                </c:pt>
                <c:pt idx="127">
                  <c:v>10</c:v>
                </c:pt>
                <c:pt idx="128">
                  <c:v>5.5</c:v>
                </c:pt>
                <c:pt idx="129">
                  <c:v>10</c:v>
                </c:pt>
                <c:pt idx="130">
                  <c:v>12.5</c:v>
                </c:pt>
                <c:pt idx="131">
                  <c:v>6</c:v>
                </c:pt>
                <c:pt idx="132">
                  <c:v>10</c:v>
                </c:pt>
                <c:pt idx="133">
                  <c:v>6.5</c:v>
                </c:pt>
                <c:pt idx="134">
                  <c:v>10</c:v>
                </c:pt>
                <c:pt idx="135">
                  <c:v>14.5</c:v>
                </c:pt>
                <c:pt idx="136">
                  <c:v>10</c:v>
                </c:pt>
                <c:pt idx="137">
                  <c:v>7</c:v>
                </c:pt>
                <c:pt idx="138">
                  <c:v>6.5</c:v>
                </c:pt>
                <c:pt idx="139">
                  <c:v>6</c:v>
                </c:pt>
                <c:pt idx="140">
                  <c:v>13.5</c:v>
                </c:pt>
                <c:pt idx="141">
                  <c:v>6.5</c:v>
                </c:pt>
                <c:pt idx="142">
                  <c:v>10</c:v>
                </c:pt>
                <c:pt idx="143">
                  <c:v>9</c:v>
                </c:pt>
                <c:pt idx="144">
                  <c:v>6.5</c:v>
                </c:pt>
                <c:pt idx="145">
                  <c:v>6</c:v>
                </c:pt>
                <c:pt idx="146">
                  <c:v>14.5</c:v>
                </c:pt>
                <c:pt idx="147">
                  <c:v>6</c:v>
                </c:pt>
                <c:pt idx="148">
                  <c:v>10.5</c:v>
                </c:pt>
                <c:pt idx="149">
                  <c:v>8.5</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7.399999999999999"/>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Harry's</c:v>
                </c:pt>
                <c:pt idx="4">
                  <c:v>Equate</c:v>
                </c:pt>
              </c:strCache>
            </c:strRef>
          </c:cat>
          <c:val>
            <c:numRef>
              <c:f>Sheet1!$B$2:$B$6</c:f>
              <c:numCache>
                <c:formatCode>General</c:formatCode>
                <c:ptCount val="5"/>
                <c:pt idx="0">
                  <c:v>1.7624472228571966</c:v>
                </c:pt>
                <c:pt idx="1">
                  <c:v>2.6360938181587117</c:v>
                </c:pt>
                <c:pt idx="2">
                  <c:v>-0.4658879683808137</c:v>
                </c:pt>
                <c:pt idx="3">
                  <c:v>-1</c:v>
                </c:pt>
                <c:pt idx="4">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05</c:v>
                </c:pt>
                <c:pt idx="19">
                  <c:v>0.25</c:v>
                </c:pt>
                <c:pt idx="20">
                  <c:v>0.05</c:v>
                </c:pt>
                <c:pt idx="21">
                  <c:v>0.25</c:v>
                </c:pt>
                <c:pt idx="22">
                  <c:v>0.3</c:v>
                </c:pt>
                <c:pt idx="23">
                  <c:v>0.05</c:v>
                </c:pt>
                <c:pt idx="24">
                  <c:v>0.3</c:v>
                </c:pt>
                <c:pt idx="25">
                  <c:v>0.60000000000000009</c:v>
                </c:pt>
                <c:pt idx="26">
                  <c:v>0.65</c:v>
                </c:pt>
                <c:pt idx="27">
                  <c:v>0.05</c:v>
                </c:pt>
                <c:pt idx="28">
                  <c:v>0.1</c:v>
                </c:pt>
                <c:pt idx="29">
                  <c:v>0.1</c:v>
                </c:pt>
                <c:pt idx="30">
                  <c:v>0.1</c:v>
                </c:pt>
                <c:pt idx="31">
                  <c:v>0.1</c:v>
                </c:pt>
                <c:pt idx="32">
                  <c:v>0.05</c:v>
                </c:pt>
                <c:pt idx="33">
                  <c:v>0.1</c:v>
                </c:pt>
                <c:pt idx="34">
                  <c:v>0.1</c:v>
                </c:pt>
                <c:pt idx="35">
                  <c:v>0.05</c:v>
                </c:pt>
                <c:pt idx="36">
                  <c:v>0.05</c:v>
                </c:pt>
                <c:pt idx="37">
                  <c:v>0.1</c:v>
                </c:pt>
                <c:pt idx="38">
                  <c:v>0.1</c:v>
                </c:pt>
                <c:pt idx="39">
                  <c:v>0.1</c:v>
                </c:pt>
                <c:pt idx="40">
                  <c:v>0.1</c:v>
                </c:pt>
                <c:pt idx="41">
                  <c:v>0</c:v>
                </c:pt>
                <c:pt idx="42">
                  <c:v>0.1</c:v>
                </c:pt>
                <c:pt idx="43">
                  <c:v>0</c:v>
                </c:pt>
                <c:pt idx="44">
                  <c:v>0.1</c:v>
                </c:pt>
                <c:pt idx="45">
                  <c:v>0</c:v>
                </c:pt>
                <c:pt idx="46">
                  <c:v>0</c:v>
                </c:pt>
                <c:pt idx="47">
                  <c:v>0.1</c:v>
                </c:pt>
                <c:pt idx="48">
                  <c:v>0</c:v>
                </c:pt>
                <c:pt idx="49">
                  <c:v>0.1</c:v>
                </c:pt>
                <c:pt idx="50">
                  <c:v>0</c:v>
                </c:pt>
                <c:pt idx="51">
                  <c:v>0.1</c:v>
                </c:pt>
                <c:pt idx="52">
                  <c:v>0</c:v>
                </c:pt>
                <c:pt idx="53">
                  <c:v>0</c:v>
                </c:pt>
                <c:pt idx="54">
                  <c:v>0</c:v>
                </c:pt>
                <c:pt idx="55">
                  <c:v>0</c:v>
                </c:pt>
                <c:pt idx="56">
                  <c:v>0.05</c:v>
                </c:pt>
                <c:pt idx="57">
                  <c:v>0</c:v>
                </c:pt>
                <c:pt idx="58">
                  <c:v>0</c:v>
                </c:pt>
                <c:pt idx="59">
                  <c:v>0</c:v>
                </c:pt>
                <c:pt idx="60">
                  <c:v>0</c:v>
                </c:pt>
                <c:pt idx="61">
                  <c:v>0</c:v>
                </c:pt>
                <c:pt idx="62">
                  <c:v>0.05</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05</c:v>
                </c:pt>
                <c:pt idx="93">
                  <c:v>0</c:v>
                </c:pt>
                <c:pt idx="94">
                  <c:v>0</c:v>
                </c:pt>
                <c:pt idx="95">
                  <c:v>0.05</c:v>
                </c:pt>
                <c:pt idx="96">
                  <c:v>0</c:v>
                </c:pt>
                <c:pt idx="97">
                  <c:v>0</c:v>
                </c:pt>
                <c:pt idx="98">
                  <c:v>0</c:v>
                </c:pt>
                <c:pt idx="99">
                  <c:v>0</c:v>
                </c:pt>
                <c:pt idx="100">
                  <c:v>0</c:v>
                </c:pt>
                <c:pt idx="101">
                  <c:v>0</c:v>
                </c:pt>
                <c:pt idx="102">
                  <c:v>0</c:v>
                </c:pt>
                <c:pt idx="103">
                  <c:v>0.05</c:v>
                </c:pt>
                <c:pt idx="104">
                  <c:v>0</c:v>
                </c:pt>
                <c:pt idx="105">
                  <c:v>0</c:v>
                </c:pt>
                <c:pt idx="106">
                  <c:v>0</c:v>
                </c:pt>
                <c:pt idx="107">
                  <c:v>0</c:v>
                </c:pt>
                <c:pt idx="108">
                  <c:v>0</c:v>
                </c:pt>
                <c:pt idx="109">
                  <c:v>0</c:v>
                </c:pt>
                <c:pt idx="110">
                  <c:v>0</c:v>
                </c:pt>
                <c:pt idx="111">
                  <c:v>0</c:v>
                </c:pt>
                <c:pt idx="112">
                  <c:v>0</c:v>
                </c:pt>
                <c:pt idx="113">
                  <c:v>0</c:v>
                </c:pt>
                <c:pt idx="114">
                  <c:v>0</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6</c:v>
                </c:pt>
                <c:pt idx="1">
                  <c:v>5.5</c:v>
                </c:pt>
                <c:pt idx="2">
                  <c:v>6</c:v>
                </c:pt>
                <c:pt idx="3">
                  <c:v>4</c:v>
                </c:pt>
                <c:pt idx="4">
                  <c:v>6</c:v>
                </c:pt>
                <c:pt idx="5">
                  <c:v>6</c:v>
                </c:pt>
                <c:pt idx="6">
                  <c:v>5.5</c:v>
                </c:pt>
                <c:pt idx="7">
                  <c:v>6</c:v>
                </c:pt>
                <c:pt idx="8">
                  <c:v>6</c:v>
                </c:pt>
                <c:pt idx="9">
                  <c:v>6</c:v>
                </c:pt>
                <c:pt idx="10">
                  <c:v>6</c:v>
                </c:pt>
                <c:pt idx="11">
                  <c:v>6</c:v>
                </c:pt>
                <c:pt idx="12">
                  <c:v>6</c:v>
                </c:pt>
                <c:pt idx="13">
                  <c:v>6</c:v>
                </c:pt>
                <c:pt idx="14">
                  <c:v>5.5</c:v>
                </c:pt>
                <c:pt idx="15">
                  <c:v>6</c:v>
                </c:pt>
                <c:pt idx="16">
                  <c:v>6</c:v>
                </c:pt>
                <c:pt idx="17">
                  <c:v>5.5</c:v>
                </c:pt>
                <c:pt idx="18">
                  <c:v>5.5</c:v>
                </c:pt>
                <c:pt idx="19">
                  <c:v>3</c:v>
                </c:pt>
                <c:pt idx="20">
                  <c:v>5.5</c:v>
                </c:pt>
                <c:pt idx="21">
                  <c:v>3</c:v>
                </c:pt>
                <c:pt idx="22">
                  <c:v>3</c:v>
                </c:pt>
                <c:pt idx="23">
                  <c:v>5.5</c:v>
                </c:pt>
                <c:pt idx="24">
                  <c:v>3</c:v>
                </c:pt>
                <c:pt idx="25">
                  <c:v>1.5</c:v>
                </c:pt>
                <c:pt idx="26">
                  <c:v>1.5</c:v>
                </c:pt>
                <c:pt idx="27">
                  <c:v>5.5</c:v>
                </c:pt>
                <c:pt idx="28">
                  <c:v>5.5</c:v>
                </c:pt>
                <c:pt idx="29">
                  <c:v>3.5</c:v>
                </c:pt>
                <c:pt idx="30">
                  <c:v>5.5</c:v>
                </c:pt>
                <c:pt idx="31">
                  <c:v>3.5</c:v>
                </c:pt>
                <c:pt idx="32">
                  <c:v>5.5</c:v>
                </c:pt>
                <c:pt idx="33">
                  <c:v>5.5</c:v>
                </c:pt>
                <c:pt idx="34">
                  <c:v>3.5</c:v>
                </c:pt>
                <c:pt idx="35">
                  <c:v>5.5</c:v>
                </c:pt>
                <c:pt idx="36">
                  <c:v>1</c:v>
                </c:pt>
                <c:pt idx="37">
                  <c:v>1</c:v>
                </c:pt>
                <c:pt idx="38">
                  <c:v>1</c:v>
                </c:pt>
                <c:pt idx="39">
                  <c:v>1</c:v>
                </c:pt>
                <c:pt idx="40">
                  <c:v>1</c:v>
                </c:pt>
                <c:pt idx="41">
                  <c:v>5.5</c:v>
                </c:pt>
                <c:pt idx="42">
                  <c:v>1</c:v>
                </c:pt>
                <c:pt idx="43">
                  <c:v>5.5</c:v>
                </c:pt>
                <c:pt idx="44">
                  <c:v>1</c:v>
                </c:pt>
                <c:pt idx="45">
                  <c:v>4</c:v>
                </c:pt>
                <c:pt idx="46">
                  <c:v>5.5</c:v>
                </c:pt>
                <c:pt idx="47">
                  <c:v>1</c:v>
                </c:pt>
                <c:pt idx="48">
                  <c:v>5.5</c:v>
                </c:pt>
                <c:pt idx="49">
                  <c:v>1</c:v>
                </c:pt>
                <c:pt idx="50">
                  <c:v>5.5</c:v>
                </c:pt>
                <c:pt idx="51">
                  <c:v>1</c:v>
                </c:pt>
                <c:pt idx="52">
                  <c:v>5.5</c:v>
                </c:pt>
                <c:pt idx="53">
                  <c:v>5.5</c:v>
                </c:pt>
                <c:pt idx="54">
                  <c:v>4</c:v>
                </c:pt>
                <c:pt idx="55">
                  <c:v>5.5</c:v>
                </c:pt>
                <c:pt idx="56">
                  <c:v>4</c:v>
                </c:pt>
                <c:pt idx="57">
                  <c:v>5.5</c:v>
                </c:pt>
                <c:pt idx="58">
                  <c:v>2</c:v>
                </c:pt>
                <c:pt idx="59">
                  <c:v>4</c:v>
                </c:pt>
                <c:pt idx="60">
                  <c:v>5.5</c:v>
                </c:pt>
                <c:pt idx="61">
                  <c:v>2</c:v>
                </c:pt>
                <c:pt idx="62">
                  <c:v>6</c:v>
                </c:pt>
                <c:pt idx="63">
                  <c:v>5.5</c:v>
                </c:pt>
                <c:pt idx="64">
                  <c:v>2</c:v>
                </c:pt>
                <c:pt idx="65">
                  <c:v>5.5</c:v>
                </c:pt>
                <c:pt idx="66">
                  <c:v>5.5</c:v>
                </c:pt>
                <c:pt idx="67">
                  <c:v>5.5</c:v>
                </c:pt>
                <c:pt idx="68">
                  <c:v>2</c:v>
                </c:pt>
                <c:pt idx="69">
                  <c:v>5.5</c:v>
                </c:pt>
                <c:pt idx="70">
                  <c:v>5.5</c:v>
                </c:pt>
                <c:pt idx="71">
                  <c:v>5.5</c:v>
                </c:pt>
                <c:pt idx="72">
                  <c:v>5.5</c:v>
                </c:pt>
                <c:pt idx="73">
                  <c:v>6</c:v>
                </c:pt>
                <c:pt idx="74">
                  <c:v>5.5</c:v>
                </c:pt>
                <c:pt idx="75">
                  <c:v>6</c:v>
                </c:pt>
                <c:pt idx="76">
                  <c:v>5.5</c:v>
                </c:pt>
                <c:pt idx="77">
                  <c:v>5.5</c:v>
                </c:pt>
                <c:pt idx="78">
                  <c:v>5.5</c:v>
                </c:pt>
                <c:pt idx="79">
                  <c:v>2</c:v>
                </c:pt>
                <c:pt idx="80">
                  <c:v>6</c:v>
                </c:pt>
                <c:pt idx="81">
                  <c:v>5.5</c:v>
                </c:pt>
                <c:pt idx="82">
                  <c:v>6</c:v>
                </c:pt>
                <c:pt idx="83">
                  <c:v>5.5</c:v>
                </c:pt>
                <c:pt idx="84">
                  <c:v>5.5</c:v>
                </c:pt>
                <c:pt idx="85">
                  <c:v>6</c:v>
                </c:pt>
                <c:pt idx="86">
                  <c:v>5.5</c:v>
                </c:pt>
                <c:pt idx="87">
                  <c:v>6</c:v>
                </c:pt>
                <c:pt idx="88">
                  <c:v>5.5</c:v>
                </c:pt>
                <c:pt idx="89">
                  <c:v>2</c:v>
                </c:pt>
                <c:pt idx="90">
                  <c:v>5.5</c:v>
                </c:pt>
                <c:pt idx="91">
                  <c:v>2</c:v>
                </c:pt>
                <c:pt idx="92">
                  <c:v>5</c:v>
                </c:pt>
                <c:pt idx="93">
                  <c:v>2</c:v>
                </c:pt>
                <c:pt idx="94">
                  <c:v>2</c:v>
                </c:pt>
                <c:pt idx="95">
                  <c:v>5.5</c:v>
                </c:pt>
                <c:pt idx="96">
                  <c:v>2</c:v>
                </c:pt>
                <c:pt idx="97">
                  <c:v>5.5</c:v>
                </c:pt>
                <c:pt idx="98">
                  <c:v>2</c:v>
                </c:pt>
                <c:pt idx="99">
                  <c:v>5.5</c:v>
                </c:pt>
                <c:pt idx="100">
                  <c:v>2</c:v>
                </c:pt>
                <c:pt idx="101">
                  <c:v>2</c:v>
                </c:pt>
                <c:pt idx="102">
                  <c:v>5.5</c:v>
                </c:pt>
                <c:pt idx="103">
                  <c:v>5.5</c:v>
                </c:pt>
                <c:pt idx="104">
                  <c:v>5.5</c:v>
                </c:pt>
                <c:pt idx="105">
                  <c:v>5.5</c:v>
                </c:pt>
                <c:pt idx="106">
                  <c:v>5.5</c:v>
                </c:pt>
                <c:pt idx="107">
                  <c:v>5.5</c:v>
                </c:pt>
                <c:pt idx="108">
                  <c:v>5.5</c:v>
                </c:pt>
                <c:pt idx="109">
                  <c:v>5.5</c:v>
                </c:pt>
                <c:pt idx="110">
                  <c:v>5.5</c:v>
                </c:pt>
                <c:pt idx="111">
                  <c:v>5.5</c:v>
                </c:pt>
                <c:pt idx="112">
                  <c:v>5.5</c:v>
                </c:pt>
                <c:pt idx="113">
                  <c:v>5.5</c:v>
                </c:pt>
                <c:pt idx="114">
                  <c:v>5.5</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7.1999999999999993"/>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0</c:v>
                </c:pt>
                <c:pt idx="1">
                  <c:v>0.4</c:v>
                </c:pt>
                <c:pt idx="2">
                  <c:v>0</c:v>
                </c:pt>
                <c:pt idx="3">
                  <c:v>0.4</c:v>
                </c:pt>
                <c:pt idx="4">
                  <c:v>0.15</c:v>
                </c:pt>
                <c:pt idx="5">
                  <c:v>0.2</c:v>
                </c:pt>
                <c:pt idx="6">
                  <c:v>0.05</c:v>
                </c:pt>
                <c:pt idx="7">
                  <c:v>0.2</c:v>
                </c:pt>
                <c:pt idx="8">
                  <c:v>0.4</c:v>
                </c:pt>
                <c:pt idx="9">
                  <c:v>0.4</c:v>
                </c:pt>
                <c:pt idx="10">
                  <c:v>0.45</c:v>
                </c:pt>
                <c:pt idx="11">
                  <c:v>0.60000000000000009</c:v>
                </c:pt>
                <c:pt idx="12">
                  <c:v>0.70000000000000007</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25</c:v>
                </c:pt>
                <c:pt idx="1">
                  <c:v>15.5</c:v>
                </c:pt>
                <c:pt idx="2">
                  <c:v>25</c:v>
                </c:pt>
                <c:pt idx="3">
                  <c:v>15.5</c:v>
                </c:pt>
                <c:pt idx="4">
                  <c:v>21.5</c:v>
                </c:pt>
                <c:pt idx="5">
                  <c:v>20</c:v>
                </c:pt>
                <c:pt idx="6">
                  <c:v>23.5</c:v>
                </c:pt>
                <c:pt idx="7">
                  <c:v>20</c:v>
                </c:pt>
                <c:pt idx="8">
                  <c:v>15</c:v>
                </c:pt>
                <c:pt idx="9">
                  <c:v>15</c:v>
                </c:pt>
                <c:pt idx="10">
                  <c:v>13.5</c:v>
                </c:pt>
                <c:pt idx="11">
                  <c:v>9.5</c:v>
                </c:pt>
                <c:pt idx="12">
                  <c:v>7.5</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0</c:f>
              <c:numCache>
                <c:formatCode>General</c:formatCode>
                <c:ptCount val="69"/>
                <c:pt idx="0">
                  <c:v>0.05</c:v>
                </c:pt>
                <c:pt idx="1">
                  <c:v>0.05</c:v>
                </c:pt>
                <c:pt idx="2">
                  <c:v>0.05</c:v>
                </c:pt>
                <c:pt idx="3">
                  <c:v>0</c:v>
                </c:pt>
                <c:pt idx="4">
                  <c:v>0.15</c:v>
                </c:pt>
                <c:pt idx="5">
                  <c:v>0</c:v>
                </c:pt>
                <c:pt idx="6">
                  <c:v>0</c:v>
                </c:pt>
                <c:pt idx="7">
                  <c:v>0.05</c:v>
                </c:pt>
                <c:pt idx="8">
                  <c:v>0</c:v>
                </c:pt>
                <c:pt idx="9">
                  <c:v>0.1</c:v>
                </c:pt>
                <c:pt idx="10">
                  <c:v>0</c:v>
                </c:pt>
                <c:pt idx="11">
                  <c:v>0.05</c:v>
                </c:pt>
                <c:pt idx="12">
                  <c:v>0</c:v>
                </c:pt>
                <c:pt idx="13">
                  <c:v>0.1</c:v>
                </c:pt>
                <c:pt idx="14">
                  <c:v>0</c:v>
                </c:pt>
                <c:pt idx="15">
                  <c:v>0.05</c:v>
                </c:pt>
                <c:pt idx="16">
                  <c:v>0</c:v>
                </c:pt>
                <c:pt idx="17">
                  <c:v>0</c:v>
                </c:pt>
                <c:pt idx="18">
                  <c:v>0</c:v>
                </c:pt>
                <c:pt idx="19">
                  <c:v>0</c:v>
                </c:pt>
                <c:pt idx="20">
                  <c:v>0.15</c:v>
                </c:pt>
                <c:pt idx="21">
                  <c:v>0</c:v>
                </c:pt>
                <c:pt idx="22">
                  <c:v>0</c:v>
                </c:pt>
                <c:pt idx="23">
                  <c:v>0.60000000000000009</c:v>
                </c:pt>
                <c:pt idx="24">
                  <c:v>0</c:v>
                </c:pt>
                <c:pt idx="25">
                  <c:v>0.60000000000000009</c:v>
                </c:pt>
                <c:pt idx="26">
                  <c:v>0.4</c:v>
                </c:pt>
                <c:pt idx="27">
                  <c:v>0.35</c:v>
                </c:pt>
                <c:pt idx="28">
                  <c:v>0.15</c:v>
                </c:pt>
                <c:pt idx="29">
                  <c:v>0.15</c:v>
                </c:pt>
                <c:pt idx="30">
                  <c:v>0.15</c:v>
                </c:pt>
                <c:pt idx="31">
                  <c:v>0.15</c:v>
                </c:pt>
                <c:pt idx="32">
                  <c:v>0.05</c:v>
                </c:pt>
                <c:pt idx="33">
                  <c:v>0.15</c:v>
                </c:pt>
                <c:pt idx="34">
                  <c:v>0.05</c:v>
                </c:pt>
                <c:pt idx="35">
                  <c:v>0.2</c:v>
                </c:pt>
                <c:pt idx="36">
                  <c:v>0.1</c:v>
                </c:pt>
                <c:pt idx="37">
                  <c:v>0.1</c:v>
                </c:pt>
                <c:pt idx="38">
                  <c:v>0.1</c:v>
                </c:pt>
                <c:pt idx="39">
                  <c:v>0.1</c:v>
                </c:pt>
                <c:pt idx="40">
                  <c:v>0.1</c:v>
                </c:pt>
                <c:pt idx="41">
                  <c:v>0.1</c:v>
                </c:pt>
                <c:pt idx="42">
                  <c:v>0.15</c:v>
                </c:pt>
                <c:pt idx="43">
                  <c:v>0.1</c:v>
                </c:pt>
                <c:pt idx="44">
                  <c:v>0.2</c:v>
                </c:pt>
                <c:pt idx="45">
                  <c:v>0.1</c:v>
                </c:pt>
                <c:pt idx="46">
                  <c:v>0.1</c:v>
                </c:pt>
                <c:pt idx="47">
                  <c:v>0.1</c:v>
                </c:pt>
                <c:pt idx="48">
                  <c:v>0.15</c:v>
                </c:pt>
                <c:pt idx="49">
                  <c:v>0.15</c:v>
                </c:pt>
                <c:pt idx="50">
                  <c:v>0.1</c:v>
                </c:pt>
                <c:pt idx="51">
                  <c:v>0.15</c:v>
                </c:pt>
                <c:pt idx="52">
                  <c:v>0.15</c:v>
                </c:pt>
                <c:pt idx="53">
                  <c:v>0</c:v>
                </c:pt>
                <c:pt idx="54">
                  <c:v>0.15</c:v>
                </c:pt>
                <c:pt idx="55">
                  <c:v>0</c:v>
                </c:pt>
                <c:pt idx="56">
                  <c:v>0.15</c:v>
                </c:pt>
                <c:pt idx="57">
                  <c:v>0</c:v>
                </c:pt>
                <c:pt idx="58">
                  <c:v>0</c:v>
                </c:pt>
                <c:pt idx="59">
                  <c:v>0</c:v>
                </c:pt>
                <c:pt idx="60">
                  <c:v>0</c:v>
                </c:pt>
                <c:pt idx="61">
                  <c:v>0</c:v>
                </c:pt>
                <c:pt idx="62">
                  <c:v>0</c:v>
                </c:pt>
                <c:pt idx="63">
                  <c:v>0</c:v>
                </c:pt>
                <c:pt idx="64">
                  <c:v>0</c:v>
                </c:pt>
                <c:pt idx="65">
                  <c:v>0</c:v>
                </c:pt>
                <c:pt idx="66">
                  <c:v>0.3</c:v>
                </c:pt>
                <c:pt idx="67">
                  <c:v>0.05</c:v>
                </c:pt>
                <c:pt idx="68">
                  <c:v>0.05</c:v>
                </c:pt>
              </c:numCache>
            </c:numRef>
          </c:xVal>
          <c:yVal>
            <c:numRef>
              <c:f>Sheet1!$B$2:$B$70</c:f>
              <c:numCache>
                <c:formatCode>General</c:formatCode>
                <c:ptCount val="6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58664971314511916</c:v>
                </c:pt>
                <c:pt idx="24">
                  <c:v>0</c:v>
                </c:pt>
                <c:pt idx="25">
                  <c:v>0.53240658421394194</c:v>
                </c:pt>
                <c:pt idx="26">
                  <c:v>6.673581308122871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7.0868639048581716</c:v>
                </c:pt>
                <c:pt idx="67">
                  <c:v>0</c:v>
                </c:pt>
                <c:pt idx="68">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2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0</c:f>
              <c:numCache>
                <c:formatCode>General</c:formatCode>
                <c:ptCount val="69"/>
                <c:pt idx="0">
                  <c:v>9.5</c:v>
                </c:pt>
                <c:pt idx="1">
                  <c:v>9.5</c:v>
                </c:pt>
                <c:pt idx="2">
                  <c:v>9.5</c:v>
                </c:pt>
                <c:pt idx="3">
                  <c:v>10</c:v>
                </c:pt>
                <c:pt idx="4">
                  <c:v>8.5</c:v>
                </c:pt>
                <c:pt idx="5">
                  <c:v>10</c:v>
                </c:pt>
                <c:pt idx="6">
                  <c:v>10</c:v>
                </c:pt>
                <c:pt idx="7">
                  <c:v>9.5</c:v>
                </c:pt>
                <c:pt idx="8">
                  <c:v>10</c:v>
                </c:pt>
                <c:pt idx="9">
                  <c:v>9</c:v>
                </c:pt>
                <c:pt idx="10">
                  <c:v>10</c:v>
                </c:pt>
                <c:pt idx="11">
                  <c:v>9.5</c:v>
                </c:pt>
                <c:pt idx="12">
                  <c:v>10</c:v>
                </c:pt>
                <c:pt idx="13">
                  <c:v>9</c:v>
                </c:pt>
                <c:pt idx="14">
                  <c:v>10</c:v>
                </c:pt>
                <c:pt idx="15">
                  <c:v>9.5</c:v>
                </c:pt>
                <c:pt idx="16">
                  <c:v>10</c:v>
                </c:pt>
                <c:pt idx="17">
                  <c:v>10</c:v>
                </c:pt>
                <c:pt idx="18">
                  <c:v>10</c:v>
                </c:pt>
                <c:pt idx="19">
                  <c:v>10</c:v>
                </c:pt>
                <c:pt idx="20">
                  <c:v>8.5</c:v>
                </c:pt>
                <c:pt idx="21">
                  <c:v>10</c:v>
                </c:pt>
                <c:pt idx="22">
                  <c:v>10</c:v>
                </c:pt>
                <c:pt idx="23">
                  <c:v>4</c:v>
                </c:pt>
                <c:pt idx="24">
                  <c:v>10</c:v>
                </c:pt>
                <c:pt idx="25">
                  <c:v>4</c:v>
                </c:pt>
                <c:pt idx="26">
                  <c:v>6</c:v>
                </c:pt>
                <c:pt idx="27">
                  <c:v>6.5</c:v>
                </c:pt>
                <c:pt idx="28">
                  <c:v>8.5</c:v>
                </c:pt>
                <c:pt idx="29">
                  <c:v>8.5</c:v>
                </c:pt>
                <c:pt idx="30">
                  <c:v>8.5</c:v>
                </c:pt>
                <c:pt idx="31">
                  <c:v>8.5</c:v>
                </c:pt>
                <c:pt idx="32">
                  <c:v>9.5</c:v>
                </c:pt>
                <c:pt idx="33">
                  <c:v>8.5</c:v>
                </c:pt>
                <c:pt idx="34">
                  <c:v>9</c:v>
                </c:pt>
                <c:pt idx="35">
                  <c:v>8</c:v>
                </c:pt>
                <c:pt idx="36">
                  <c:v>8.5</c:v>
                </c:pt>
                <c:pt idx="37">
                  <c:v>9</c:v>
                </c:pt>
                <c:pt idx="38">
                  <c:v>9</c:v>
                </c:pt>
                <c:pt idx="39">
                  <c:v>9</c:v>
                </c:pt>
                <c:pt idx="40">
                  <c:v>9</c:v>
                </c:pt>
                <c:pt idx="41">
                  <c:v>9</c:v>
                </c:pt>
                <c:pt idx="42">
                  <c:v>8.5</c:v>
                </c:pt>
                <c:pt idx="43">
                  <c:v>9</c:v>
                </c:pt>
                <c:pt idx="44">
                  <c:v>8</c:v>
                </c:pt>
                <c:pt idx="45">
                  <c:v>9</c:v>
                </c:pt>
                <c:pt idx="46">
                  <c:v>9</c:v>
                </c:pt>
                <c:pt idx="47">
                  <c:v>9</c:v>
                </c:pt>
                <c:pt idx="48">
                  <c:v>8.5</c:v>
                </c:pt>
                <c:pt idx="49">
                  <c:v>8.5</c:v>
                </c:pt>
                <c:pt idx="50">
                  <c:v>9</c:v>
                </c:pt>
                <c:pt idx="51">
                  <c:v>8.5</c:v>
                </c:pt>
                <c:pt idx="52">
                  <c:v>8.5</c:v>
                </c:pt>
                <c:pt idx="53">
                  <c:v>10</c:v>
                </c:pt>
                <c:pt idx="54">
                  <c:v>8.5</c:v>
                </c:pt>
                <c:pt idx="55">
                  <c:v>10</c:v>
                </c:pt>
                <c:pt idx="56">
                  <c:v>8.5</c:v>
                </c:pt>
                <c:pt idx="57">
                  <c:v>10</c:v>
                </c:pt>
                <c:pt idx="58">
                  <c:v>10</c:v>
                </c:pt>
                <c:pt idx="59">
                  <c:v>10</c:v>
                </c:pt>
                <c:pt idx="60">
                  <c:v>10</c:v>
                </c:pt>
                <c:pt idx="61">
                  <c:v>10</c:v>
                </c:pt>
                <c:pt idx="62">
                  <c:v>10</c:v>
                </c:pt>
                <c:pt idx="63">
                  <c:v>10</c:v>
                </c:pt>
                <c:pt idx="64">
                  <c:v>10</c:v>
                </c:pt>
                <c:pt idx="65">
                  <c:v>10</c:v>
                </c:pt>
                <c:pt idx="66">
                  <c:v>7</c:v>
                </c:pt>
                <c:pt idx="67">
                  <c:v>9.5</c:v>
                </c:pt>
                <c:pt idx="68">
                  <c:v>9.5</c:v>
                </c:pt>
              </c:numCache>
            </c:numRef>
          </c:xVal>
          <c:yVal>
            <c:numRef>
              <c:f>Sheet1!$B$2:$B$70</c:f>
              <c:numCache>
                <c:formatCode>General</c:formatCode>
                <c:ptCount val="6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58664971314511916</c:v>
                </c:pt>
                <c:pt idx="24">
                  <c:v>0</c:v>
                </c:pt>
                <c:pt idx="25">
                  <c:v>0.53240658421394194</c:v>
                </c:pt>
                <c:pt idx="26">
                  <c:v>6.673581308122871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7.0868639048581716</c:v>
                </c:pt>
                <c:pt idx="67">
                  <c:v>0</c:v>
                </c:pt>
                <c:pt idx="68">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3.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7</c:f>
              <c:numCache>
                <c:formatCode>General</c:formatCode>
                <c:ptCount val="16"/>
                <c:pt idx="0">
                  <c:v>0.1</c:v>
                </c:pt>
                <c:pt idx="1">
                  <c:v>0.1</c:v>
                </c:pt>
                <c:pt idx="2">
                  <c:v>0.15</c:v>
                </c:pt>
                <c:pt idx="3">
                  <c:v>0.1</c:v>
                </c:pt>
                <c:pt idx="4">
                  <c:v>0.15</c:v>
                </c:pt>
                <c:pt idx="5">
                  <c:v>0.1</c:v>
                </c:pt>
                <c:pt idx="6">
                  <c:v>0.1</c:v>
                </c:pt>
                <c:pt idx="7">
                  <c:v>0.1</c:v>
                </c:pt>
                <c:pt idx="8">
                  <c:v>0.1</c:v>
                </c:pt>
                <c:pt idx="9">
                  <c:v>0.1</c:v>
                </c:pt>
                <c:pt idx="10">
                  <c:v>0.1</c:v>
                </c:pt>
                <c:pt idx="11">
                  <c:v>0.1</c:v>
                </c:pt>
                <c:pt idx="12">
                  <c:v>0.1</c:v>
                </c:pt>
                <c:pt idx="13">
                  <c:v>0.05</c:v>
                </c:pt>
                <c:pt idx="14">
                  <c:v>0.15</c:v>
                </c:pt>
                <c:pt idx="15">
                  <c:v>0.05</c:v>
                </c:pt>
              </c:numCache>
            </c:numRef>
          </c:xVal>
          <c:yVal>
            <c:numRef>
              <c:f>Sheet1!$B$2:$B$17</c:f>
              <c:numCache>
                <c:formatCode>General</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18000000000000002"/>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7</c:f>
              <c:numCache>
                <c:formatCode>General</c:formatCode>
                <c:ptCount val="16"/>
                <c:pt idx="0">
                  <c:v>7.5</c:v>
                </c:pt>
                <c:pt idx="1">
                  <c:v>7.5</c:v>
                </c:pt>
                <c:pt idx="2">
                  <c:v>7.5</c:v>
                </c:pt>
                <c:pt idx="3">
                  <c:v>7.5</c:v>
                </c:pt>
                <c:pt idx="4">
                  <c:v>7.5</c:v>
                </c:pt>
                <c:pt idx="5">
                  <c:v>7.5</c:v>
                </c:pt>
                <c:pt idx="6">
                  <c:v>7.5</c:v>
                </c:pt>
                <c:pt idx="7">
                  <c:v>7.5</c:v>
                </c:pt>
                <c:pt idx="8">
                  <c:v>7.5</c:v>
                </c:pt>
                <c:pt idx="9">
                  <c:v>7.5</c:v>
                </c:pt>
                <c:pt idx="10">
                  <c:v>7.5</c:v>
                </c:pt>
                <c:pt idx="11">
                  <c:v>7.5</c:v>
                </c:pt>
                <c:pt idx="12">
                  <c:v>7.5</c:v>
                </c:pt>
                <c:pt idx="13">
                  <c:v>8</c:v>
                </c:pt>
                <c:pt idx="14">
                  <c:v>7.5</c:v>
                </c:pt>
                <c:pt idx="15">
                  <c:v>8</c:v>
                </c:pt>
              </c:numCache>
            </c:numRef>
          </c:xVal>
          <c:yVal>
            <c:numRef>
              <c:f>Sheet1!$B$2:$B$17</c:f>
              <c:numCache>
                <c:formatCode>General</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9.6"/>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7</c:f>
              <c:numCache>
                <c:formatCode>General</c:formatCode>
                <c:ptCount val="2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15</c:v>
                </c:pt>
                <c:pt idx="20">
                  <c:v>0</c:v>
                </c:pt>
                <c:pt idx="21">
                  <c:v>0</c:v>
                </c:pt>
                <c:pt idx="22">
                  <c:v>0.2</c:v>
                </c:pt>
                <c:pt idx="23">
                  <c:v>0</c:v>
                </c:pt>
                <c:pt idx="24">
                  <c:v>0.65</c:v>
                </c:pt>
                <c:pt idx="25">
                  <c:v>0.70000000000000007</c:v>
                </c:pt>
              </c:numCache>
            </c:numRef>
          </c:xVal>
          <c:yVal>
            <c:numRef>
              <c:f>Sheet1!$B$2:$B$27</c:f>
              <c:numCache>
                <c:formatCode>General</c:formatCode>
                <c:ptCount val="2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7530926961531942E-2</c:v>
                </c:pt>
                <c:pt idx="20">
                  <c:v>0</c:v>
                </c:pt>
                <c:pt idx="21">
                  <c:v>0</c:v>
                </c:pt>
                <c:pt idx="22">
                  <c:v>1.42812303829253E-2</c:v>
                </c:pt>
                <c:pt idx="23">
                  <c:v>0</c:v>
                </c:pt>
                <c:pt idx="24">
                  <c:v>5.9169822980092587E-2</c:v>
                </c:pt>
                <c:pt idx="25">
                  <c:v>1.664441313454075</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7</c:f>
              <c:numCache>
                <c:formatCode>General</c:formatCode>
                <c:ptCount val="26"/>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5</c:v>
                </c:pt>
                <c:pt idx="20">
                  <c:v>15</c:v>
                </c:pt>
                <c:pt idx="21">
                  <c:v>15</c:v>
                </c:pt>
                <c:pt idx="22">
                  <c:v>14</c:v>
                </c:pt>
                <c:pt idx="23">
                  <c:v>15</c:v>
                </c:pt>
                <c:pt idx="24">
                  <c:v>5</c:v>
                </c:pt>
                <c:pt idx="25">
                  <c:v>4.5</c:v>
                </c:pt>
              </c:numCache>
            </c:numRef>
          </c:xVal>
          <c:yVal>
            <c:numRef>
              <c:f>Sheet1!$B$2:$B$27</c:f>
              <c:numCache>
                <c:formatCode>General</c:formatCode>
                <c:ptCount val="2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7530926961531942E-2</c:v>
                </c:pt>
                <c:pt idx="20">
                  <c:v>0</c:v>
                </c:pt>
                <c:pt idx="21">
                  <c:v>0</c:v>
                </c:pt>
                <c:pt idx="22">
                  <c:v>1.42812303829253E-2</c:v>
                </c:pt>
                <c:pt idx="23">
                  <c:v>0</c:v>
                </c:pt>
                <c:pt idx="24">
                  <c:v>5.9169822980092587E-2</c:v>
                </c:pt>
                <c:pt idx="25">
                  <c:v>1.664441313454075</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Equate</c:v>
                </c:pt>
                <c:pt idx="4">
                  <c:v>Harry's</c:v>
                </c:pt>
              </c:strCache>
            </c:strRef>
          </c:cat>
          <c:val>
            <c:numRef>
              <c:f>Sheet1!$B$2:$B$6</c:f>
              <c:numCache>
                <c:formatCode>General</c:formatCode>
                <c:ptCount val="5"/>
                <c:pt idx="0">
                  <c:v>1</c:v>
                </c:pt>
                <c:pt idx="1">
                  <c:v>1.0710000000000002</c:v>
                </c:pt>
                <c:pt idx="2">
                  <c:v>0.44399999999999995</c:v>
                </c:pt>
                <c:pt idx="3">
                  <c:v>1</c:v>
                </c:pt>
                <c:pt idx="4">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3</c:f>
              <c:numCache>
                <c:formatCode>General</c:formatCode>
                <c:ptCount val="92"/>
                <c:pt idx="0">
                  <c:v>0</c:v>
                </c:pt>
                <c:pt idx="1">
                  <c:v>0.55000000000000004</c:v>
                </c:pt>
                <c:pt idx="2">
                  <c:v>0.05</c:v>
                </c:pt>
                <c:pt idx="3">
                  <c:v>0.05</c:v>
                </c:pt>
                <c:pt idx="4">
                  <c:v>0.05</c:v>
                </c:pt>
                <c:pt idx="5">
                  <c:v>0.25</c:v>
                </c:pt>
                <c:pt idx="6">
                  <c:v>0.1</c:v>
                </c:pt>
                <c:pt idx="7">
                  <c:v>0</c:v>
                </c:pt>
                <c:pt idx="8">
                  <c:v>0.05</c:v>
                </c:pt>
                <c:pt idx="9">
                  <c:v>0.05</c:v>
                </c:pt>
                <c:pt idx="10">
                  <c:v>0.05</c:v>
                </c:pt>
                <c:pt idx="11">
                  <c:v>0.1</c:v>
                </c:pt>
                <c:pt idx="12">
                  <c:v>0.05</c:v>
                </c:pt>
                <c:pt idx="13">
                  <c:v>0.4</c:v>
                </c:pt>
                <c:pt idx="14">
                  <c:v>0.1</c:v>
                </c:pt>
                <c:pt idx="15">
                  <c:v>0.2</c:v>
                </c:pt>
                <c:pt idx="16">
                  <c:v>0.05</c:v>
                </c:pt>
                <c:pt idx="17">
                  <c:v>0.3</c:v>
                </c:pt>
                <c:pt idx="18">
                  <c:v>0.05</c:v>
                </c:pt>
                <c:pt idx="19">
                  <c:v>0.1</c:v>
                </c:pt>
                <c:pt idx="20">
                  <c:v>0.15</c:v>
                </c:pt>
                <c:pt idx="21">
                  <c:v>0.3</c:v>
                </c:pt>
                <c:pt idx="22">
                  <c:v>0.05</c:v>
                </c:pt>
                <c:pt idx="23">
                  <c:v>0.2</c:v>
                </c:pt>
                <c:pt idx="24">
                  <c:v>0.1</c:v>
                </c:pt>
                <c:pt idx="25">
                  <c:v>0.5</c:v>
                </c:pt>
                <c:pt idx="26">
                  <c:v>0.65</c:v>
                </c:pt>
                <c:pt idx="27">
                  <c:v>0.55000000000000004</c:v>
                </c:pt>
                <c:pt idx="28">
                  <c:v>0.65</c:v>
                </c:pt>
                <c:pt idx="29">
                  <c:v>0.1</c:v>
                </c:pt>
                <c:pt idx="30">
                  <c:v>0</c:v>
                </c:pt>
                <c:pt idx="31">
                  <c:v>0</c:v>
                </c:pt>
                <c:pt idx="32">
                  <c:v>0.1</c:v>
                </c:pt>
                <c:pt idx="33">
                  <c:v>0</c:v>
                </c:pt>
                <c:pt idx="34">
                  <c:v>0.1</c:v>
                </c:pt>
                <c:pt idx="35">
                  <c:v>0</c:v>
                </c:pt>
                <c:pt idx="36">
                  <c:v>0.1</c:v>
                </c:pt>
                <c:pt idx="37">
                  <c:v>0</c:v>
                </c:pt>
                <c:pt idx="38">
                  <c:v>0</c:v>
                </c:pt>
                <c:pt idx="39">
                  <c:v>0</c:v>
                </c:pt>
                <c:pt idx="40">
                  <c:v>0</c:v>
                </c:pt>
                <c:pt idx="41">
                  <c:v>0</c:v>
                </c:pt>
                <c:pt idx="42">
                  <c:v>0</c:v>
                </c:pt>
                <c:pt idx="43">
                  <c:v>0.05</c:v>
                </c:pt>
                <c:pt idx="44">
                  <c:v>0</c:v>
                </c:pt>
                <c:pt idx="45">
                  <c:v>0</c:v>
                </c:pt>
                <c:pt idx="46">
                  <c:v>0</c:v>
                </c:pt>
                <c:pt idx="47">
                  <c:v>0.05</c:v>
                </c:pt>
                <c:pt idx="48">
                  <c:v>0</c:v>
                </c:pt>
                <c:pt idx="49">
                  <c:v>0.05</c:v>
                </c:pt>
                <c:pt idx="50">
                  <c:v>0</c:v>
                </c:pt>
                <c:pt idx="51">
                  <c:v>0.2</c:v>
                </c:pt>
                <c:pt idx="52">
                  <c:v>0</c:v>
                </c:pt>
                <c:pt idx="53">
                  <c:v>0.15</c:v>
                </c:pt>
                <c:pt idx="54">
                  <c:v>0</c:v>
                </c:pt>
                <c:pt idx="55">
                  <c:v>0.3</c:v>
                </c:pt>
                <c:pt idx="56">
                  <c:v>0</c:v>
                </c:pt>
                <c:pt idx="57">
                  <c:v>0.2</c:v>
                </c:pt>
                <c:pt idx="58">
                  <c:v>0</c:v>
                </c:pt>
                <c:pt idx="59">
                  <c:v>0.25</c:v>
                </c:pt>
                <c:pt idx="60">
                  <c:v>0</c:v>
                </c:pt>
                <c:pt idx="61">
                  <c:v>0.15</c:v>
                </c:pt>
                <c:pt idx="62">
                  <c:v>0</c:v>
                </c:pt>
                <c:pt idx="63">
                  <c:v>0.15</c:v>
                </c:pt>
                <c:pt idx="64">
                  <c:v>0</c:v>
                </c:pt>
                <c:pt idx="65">
                  <c:v>0.1</c:v>
                </c:pt>
                <c:pt idx="66">
                  <c:v>0</c:v>
                </c:pt>
                <c:pt idx="67">
                  <c:v>0.1</c:v>
                </c:pt>
                <c:pt idx="68">
                  <c:v>0</c:v>
                </c:pt>
                <c:pt idx="69">
                  <c:v>0.1</c:v>
                </c:pt>
                <c:pt idx="70">
                  <c:v>0</c:v>
                </c:pt>
                <c:pt idx="71">
                  <c:v>0.1</c:v>
                </c:pt>
                <c:pt idx="72">
                  <c:v>0</c:v>
                </c:pt>
                <c:pt idx="73">
                  <c:v>0.3</c:v>
                </c:pt>
                <c:pt idx="74">
                  <c:v>0</c:v>
                </c:pt>
                <c:pt idx="75">
                  <c:v>0.1</c:v>
                </c:pt>
                <c:pt idx="76">
                  <c:v>0</c:v>
                </c:pt>
                <c:pt idx="77">
                  <c:v>0.1</c:v>
                </c:pt>
                <c:pt idx="78">
                  <c:v>0.05</c:v>
                </c:pt>
                <c:pt idx="79">
                  <c:v>0.1</c:v>
                </c:pt>
                <c:pt idx="80">
                  <c:v>0.1</c:v>
                </c:pt>
                <c:pt idx="81">
                  <c:v>0.1</c:v>
                </c:pt>
                <c:pt idx="82">
                  <c:v>0.35</c:v>
                </c:pt>
                <c:pt idx="83">
                  <c:v>0.1</c:v>
                </c:pt>
                <c:pt idx="84">
                  <c:v>0.1</c:v>
                </c:pt>
                <c:pt idx="85">
                  <c:v>0.4</c:v>
                </c:pt>
                <c:pt idx="86">
                  <c:v>0.1</c:v>
                </c:pt>
                <c:pt idx="87">
                  <c:v>0.05</c:v>
                </c:pt>
                <c:pt idx="88">
                  <c:v>0</c:v>
                </c:pt>
                <c:pt idx="89">
                  <c:v>0</c:v>
                </c:pt>
                <c:pt idx="90">
                  <c:v>0</c:v>
                </c:pt>
                <c:pt idx="91">
                  <c:v>0.2</c:v>
                </c:pt>
              </c:numCache>
            </c:numRef>
          </c:xVal>
          <c:yVal>
            <c:numRef>
              <c:f>Sheet1!$B$2:$B$93</c:f>
              <c:numCache>
                <c:formatCode>General</c:formatCode>
                <c:ptCount val="9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66535516966160668</c:v>
                </c:pt>
                <c:pt idx="26">
                  <c:v>0.87388193202146691</c:v>
                </c:pt>
                <c:pt idx="27">
                  <c:v>0.35411594345179648</c:v>
                </c:pt>
                <c:pt idx="28">
                  <c:v>0.40657113909393539</c:v>
                </c:pt>
                <c:pt idx="29">
                  <c:v>3.6064811690697382E-3</c:v>
                </c:pt>
                <c:pt idx="30">
                  <c:v>0</c:v>
                </c:pt>
                <c:pt idx="31">
                  <c:v>0</c:v>
                </c:pt>
                <c:pt idx="32">
                  <c:v>0.18428223887646261</c:v>
                </c:pt>
                <c:pt idx="33">
                  <c:v>0</c:v>
                </c:pt>
                <c:pt idx="34">
                  <c:v>4.4485855792578528E-2</c:v>
                </c:pt>
                <c:pt idx="35">
                  <c:v>0</c:v>
                </c:pt>
                <c:pt idx="36">
                  <c:v>1.074536469066999E-2</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1.208548268238762E-2</c:v>
                </c:pt>
                <c:pt idx="79">
                  <c:v>0</c:v>
                </c:pt>
                <c:pt idx="80">
                  <c:v>4.4286341356353787E-2</c:v>
                </c:pt>
                <c:pt idx="81">
                  <c:v>9.5030221921740862E-2</c:v>
                </c:pt>
                <c:pt idx="82">
                  <c:v>8.4190832553788592E-2</c:v>
                </c:pt>
                <c:pt idx="83">
                  <c:v>1.9414048711613129E-2</c:v>
                </c:pt>
                <c:pt idx="84">
                  <c:v>0.15755358841173461</c:v>
                </c:pt>
                <c:pt idx="85">
                  <c:v>0.15608959402706479</c:v>
                </c:pt>
                <c:pt idx="86">
                  <c:v>2.6271937311515919E-3</c:v>
                </c:pt>
                <c:pt idx="87">
                  <c:v>1.6755574253260411E-2</c:v>
                </c:pt>
                <c:pt idx="88">
                  <c:v>0</c:v>
                </c:pt>
                <c:pt idx="89">
                  <c:v>0</c:v>
                </c:pt>
                <c:pt idx="90">
                  <c:v>0</c:v>
                </c:pt>
                <c:pt idx="91">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486583184257603"/>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3</c:f>
              <c:numCache>
                <c:formatCode>General</c:formatCode>
                <c:ptCount val="92"/>
                <c:pt idx="0">
                  <c:v>14</c:v>
                </c:pt>
                <c:pt idx="1">
                  <c:v>13.5</c:v>
                </c:pt>
                <c:pt idx="2">
                  <c:v>13</c:v>
                </c:pt>
                <c:pt idx="3">
                  <c:v>27.5</c:v>
                </c:pt>
                <c:pt idx="4">
                  <c:v>13</c:v>
                </c:pt>
                <c:pt idx="5">
                  <c:v>21.5</c:v>
                </c:pt>
                <c:pt idx="6">
                  <c:v>12.5</c:v>
                </c:pt>
                <c:pt idx="7">
                  <c:v>29.5</c:v>
                </c:pt>
                <c:pt idx="8">
                  <c:v>13.5</c:v>
                </c:pt>
                <c:pt idx="9">
                  <c:v>27.5</c:v>
                </c:pt>
                <c:pt idx="10">
                  <c:v>13.5</c:v>
                </c:pt>
                <c:pt idx="11">
                  <c:v>27</c:v>
                </c:pt>
                <c:pt idx="12">
                  <c:v>13.5</c:v>
                </c:pt>
                <c:pt idx="13">
                  <c:v>18</c:v>
                </c:pt>
                <c:pt idx="14">
                  <c:v>13</c:v>
                </c:pt>
                <c:pt idx="15">
                  <c:v>24</c:v>
                </c:pt>
                <c:pt idx="16">
                  <c:v>13.5</c:v>
                </c:pt>
                <c:pt idx="17">
                  <c:v>20.5</c:v>
                </c:pt>
                <c:pt idx="18">
                  <c:v>13.5</c:v>
                </c:pt>
                <c:pt idx="19">
                  <c:v>27</c:v>
                </c:pt>
                <c:pt idx="20">
                  <c:v>12</c:v>
                </c:pt>
                <c:pt idx="21">
                  <c:v>21</c:v>
                </c:pt>
                <c:pt idx="22">
                  <c:v>13.5</c:v>
                </c:pt>
                <c:pt idx="23">
                  <c:v>23.5</c:v>
                </c:pt>
                <c:pt idx="24">
                  <c:v>27.5</c:v>
                </c:pt>
                <c:pt idx="25">
                  <c:v>6.5</c:v>
                </c:pt>
                <c:pt idx="26">
                  <c:v>5</c:v>
                </c:pt>
                <c:pt idx="27">
                  <c:v>6</c:v>
                </c:pt>
                <c:pt idx="28">
                  <c:v>4.5</c:v>
                </c:pt>
                <c:pt idx="29">
                  <c:v>27</c:v>
                </c:pt>
                <c:pt idx="30">
                  <c:v>15</c:v>
                </c:pt>
                <c:pt idx="31">
                  <c:v>15</c:v>
                </c:pt>
                <c:pt idx="32">
                  <c:v>27</c:v>
                </c:pt>
                <c:pt idx="33">
                  <c:v>15</c:v>
                </c:pt>
                <c:pt idx="34">
                  <c:v>27</c:v>
                </c:pt>
                <c:pt idx="35">
                  <c:v>15</c:v>
                </c:pt>
                <c:pt idx="36">
                  <c:v>27</c:v>
                </c:pt>
                <c:pt idx="37">
                  <c:v>15</c:v>
                </c:pt>
                <c:pt idx="38">
                  <c:v>15</c:v>
                </c:pt>
                <c:pt idx="39">
                  <c:v>15</c:v>
                </c:pt>
                <c:pt idx="40">
                  <c:v>15</c:v>
                </c:pt>
                <c:pt idx="41">
                  <c:v>15</c:v>
                </c:pt>
                <c:pt idx="42">
                  <c:v>15</c:v>
                </c:pt>
                <c:pt idx="43">
                  <c:v>26.5</c:v>
                </c:pt>
                <c:pt idx="44">
                  <c:v>15</c:v>
                </c:pt>
                <c:pt idx="45">
                  <c:v>26.5</c:v>
                </c:pt>
                <c:pt idx="46">
                  <c:v>15</c:v>
                </c:pt>
                <c:pt idx="47">
                  <c:v>25.5</c:v>
                </c:pt>
                <c:pt idx="48">
                  <c:v>15</c:v>
                </c:pt>
                <c:pt idx="49">
                  <c:v>26</c:v>
                </c:pt>
                <c:pt idx="50">
                  <c:v>15</c:v>
                </c:pt>
                <c:pt idx="51">
                  <c:v>21</c:v>
                </c:pt>
                <c:pt idx="52">
                  <c:v>15</c:v>
                </c:pt>
                <c:pt idx="53">
                  <c:v>23</c:v>
                </c:pt>
                <c:pt idx="54">
                  <c:v>15</c:v>
                </c:pt>
                <c:pt idx="55">
                  <c:v>19.5</c:v>
                </c:pt>
                <c:pt idx="56">
                  <c:v>15</c:v>
                </c:pt>
                <c:pt idx="57">
                  <c:v>22</c:v>
                </c:pt>
                <c:pt idx="58">
                  <c:v>15</c:v>
                </c:pt>
                <c:pt idx="59">
                  <c:v>20.5</c:v>
                </c:pt>
                <c:pt idx="60">
                  <c:v>15</c:v>
                </c:pt>
                <c:pt idx="61">
                  <c:v>23.5</c:v>
                </c:pt>
                <c:pt idx="62">
                  <c:v>15</c:v>
                </c:pt>
                <c:pt idx="63">
                  <c:v>22.5</c:v>
                </c:pt>
                <c:pt idx="64">
                  <c:v>15</c:v>
                </c:pt>
                <c:pt idx="65">
                  <c:v>24.5</c:v>
                </c:pt>
                <c:pt idx="66">
                  <c:v>15</c:v>
                </c:pt>
                <c:pt idx="67">
                  <c:v>24</c:v>
                </c:pt>
                <c:pt idx="68">
                  <c:v>15</c:v>
                </c:pt>
                <c:pt idx="69">
                  <c:v>24.5</c:v>
                </c:pt>
                <c:pt idx="70">
                  <c:v>15</c:v>
                </c:pt>
                <c:pt idx="71">
                  <c:v>24.5</c:v>
                </c:pt>
                <c:pt idx="72">
                  <c:v>15</c:v>
                </c:pt>
                <c:pt idx="73">
                  <c:v>19</c:v>
                </c:pt>
                <c:pt idx="74">
                  <c:v>15</c:v>
                </c:pt>
                <c:pt idx="75">
                  <c:v>24</c:v>
                </c:pt>
                <c:pt idx="76">
                  <c:v>15</c:v>
                </c:pt>
                <c:pt idx="77">
                  <c:v>24.5</c:v>
                </c:pt>
                <c:pt idx="78">
                  <c:v>14</c:v>
                </c:pt>
                <c:pt idx="79">
                  <c:v>24.5</c:v>
                </c:pt>
                <c:pt idx="80">
                  <c:v>24</c:v>
                </c:pt>
                <c:pt idx="81">
                  <c:v>24.5</c:v>
                </c:pt>
                <c:pt idx="82">
                  <c:v>6.5</c:v>
                </c:pt>
                <c:pt idx="83">
                  <c:v>13.5</c:v>
                </c:pt>
                <c:pt idx="84">
                  <c:v>24</c:v>
                </c:pt>
                <c:pt idx="85">
                  <c:v>6</c:v>
                </c:pt>
                <c:pt idx="86">
                  <c:v>24</c:v>
                </c:pt>
                <c:pt idx="87">
                  <c:v>24</c:v>
                </c:pt>
                <c:pt idx="88">
                  <c:v>14</c:v>
                </c:pt>
                <c:pt idx="89">
                  <c:v>25</c:v>
                </c:pt>
                <c:pt idx="90">
                  <c:v>15</c:v>
                </c:pt>
                <c:pt idx="91">
                  <c:v>21</c:v>
                </c:pt>
              </c:numCache>
            </c:numRef>
          </c:xVal>
          <c:yVal>
            <c:numRef>
              <c:f>Sheet1!$B$2:$B$93</c:f>
              <c:numCache>
                <c:formatCode>General</c:formatCode>
                <c:ptCount val="9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66535516966160668</c:v>
                </c:pt>
                <c:pt idx="26">
                  <c:v>0.87388193202146691</c:v>
                </c:pt>
                <c:pt idx="27">
                  <c:v>0.35411594345179648</c:v>
                </c:pt>
                <c:pt idx="28">
                  <c:v>0.40657113909393539</c:v>
                </c:pt>
                <c:pt idx="29">
                  <c:v>3.6064811690697382E-3</c:v>
                </c:pt>
                <c:pt idx="30">
                  <c:v>0</c:v>
                </c:pt>
                <c:pt idx="31">
                  <c:v>0</c:v>
                </c:pt>
                <c:pt idx="32">
                  <c:v>0.18428223887646261</c:v>
                </c:pt>
                <c:pt idx="33">
                  <c:v>0</c:v>
                </c:pt>
                <c:pt idx="34">
                  <c:v>4.4485855792578528E-2</c:v>
                </c:pt>
                <c:pt idx="35">
                  <c:v>0</c:v>
                </c:pt>
                <c:pt idx="36">
                  <c:v>1.074536469066999E-2</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1.208548268238762E-2</c:v>
                </c:pt>
                <c:pt idx="79">
                  <c:v>0</c:v>
                </c:pt>
                <c:pt idx="80">
                  <c:v>4.4286341356353787E-2</c:v>
                </c:pt>
                <c:pt idx="81">
                  <c:v>9.5030221921740862E-2</c:v>
                </c:pt>
                <c:pt idx="82">
                  <c:v>8.4190832553788592E-2</c:v>
                </c:pt>
                <c:pt idx="83">
                  <c:v>1.9414048711613129E-2</c:v>
                </c:pt>
                <c:pt idx="84">
                  <c:v>0.15755358841173461</c:v>
                </c:pt>
                <c:pt idx="85">
                  <c:v>0.15608959402706479</c:v>
                </c:pt>
                <c:pt idx="86">
                  <c:v>2.6271937311515919E-3</c:v>
                </c:pt>
                <c:pt idx="87">
                  <c:v>1.6755574253260411E-2</c:v>
                </c:pt>
                <c:pt idx="88">
                  <c:v>0</c:v>
                </c:pt>
                <c:pt idx="89">
                  <c:v>0</c:v>
                </c:pt>
                <c:pt idx="90">
                  <c:v>0</c:v>
                </c:pt>
                <c:pt idx="91">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5.4"/>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486583184257603"/>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0</c:f>
              <c:numCache>
                <c:formatCode>General</c:formatCode>
                <c:ptCount val="9"/>
                <c:pt idx="0">
                  <c:v>0.15</c:v>
                </c:pt>
                <c:pt idx="1">
                  <c:v>0.1</c:v>
                </c:pt>
                <c:pt idx="2">
                  <c:v>0.1</c:v>
                </c:pt>
                <c:pt idx="3">
                  <c:v>0.1</c:v>
                </c:pt>
                <c:pt idx="4">
                  <c:v>0.15</c:v>
                </c:pt>
                <c:pt idx="5">
                  <c:v>0.1</c:v>
                </c:pt>
                <c:pt idx="6">
                  <c:v>0.25</c:v>
                </c:pt>
                <c:pt idx="7">
                  <c:v>0.3</c:v>
                </c:pt>
                <c:pt idx="8">
                  <c:v>0.2</c:v>
                </c:pt>
              </c:numCache>
            </c:numRef>
          </c:xVal>
          <c:yVal>
            <c:numRef>
              <c:f>Sheet1!$B$2:$B$10</c:f>
              <c:numCache>
                <c:formatCode>General</c:formatCode>
                <c:ptCount val="9"/>
                <c:pt idx="0">
                  <c:v>0</c:v>
                </c:pt>
                <c:pt idx="1">
                  <c:v>0</c:v>
                </c:pt>
                <c:pt idx="2">
                  <c:v>0</c:v>
                </c:pt>
                <c:pt idx="3">
                  <c:v>0</c:v>
                </c:pt>
                <c:pt idx="4">
                  <c:v>0</c:v>
                </c:pt>
                <c:pt idx="5">
                  <c:v>0</c:v>
                </c:pt>
                <c:pt idx="6">
                  <c:v>0.27296962627611893</c:v>
                </c:pt>
                <c:pt idx="7">
                  <c:v>0.17453825430309389</c:v>
                </c:pt>
                <c:pt idx="8">
                  <c:v>0.15649360016511971</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0</c:f>
              <c:numCache>
                <c:formatCode>General</c:formatCode>
                <c:ptCount val="9"/>
                <c:pt idx="0">
                  <c:v>14</c:v>
                </c:pt>
                <c:pt idx="1">
                  <c:v>8</c:v>
                </c:pt>
                <c:pt idx="2">
                  <c:v>8</c:v>
                </c:pt>
                <c:pt idx="3">
                  <c:v>8</c:v>
                </c:pt>
                <c:pt idx="4">
                  <c:v>14</c:v>
                </c:pt>
                <c:pt idx="5">
                  <c:v>14</c:v>
                </c:pt>
                <c:pt idx="6">
                  <c:v>11.5</c:v>
                </c:pt>
                <c:pt idx="7">
                  <c:v>11</c:v>
                </c:pt>
                <c:pt idx="8">
                  <c:v>16</c:v>
                </c:pt>
              </c:numCache>
            </c:numRef>
          </c:xVal>
          <c:yVal>
            <c:numRef>
              <c:f>Sheet1!$B$2:$B$10</c:f>
              <c:numCache>
                <c:formatCode>General</c:formatCode>
                <c:ptCount val="9"/>
                <c:pt idx="0">
                  <c:v>0</c:v>
                </c:pt>
                <c:pt idx="1">
                  <c:v>0</c:v>
                </c:pt>
                <c:pt idx="2">
                  <c:v>0</c:v>
                </c:pt>
                <c:pt idx="3">
                  <c:v>0</c:v>
                </c:pt>
                <c:pt idx="4">
                  <c:v>0</c:v>
                </c:pt>
                <c:pt idx="5">
                  <c:v>0</c:v>
                </c:pt>
                <c:pt idx="6">
                  <c:v>0.27296962627611893</c:v>
                </c:pt>
                <c:pt idx="7">
                  <c:v>0.17453825430309389</c:v>
                </c:pt>
                <c:pt idx="8">
                  <c:v>0.15649360016511971</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6.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0.2</c:v>
                </c:pt>
                <c:pt idx="1">
                  <c:v>0.25</c:v>
                </c:pt>
                <c:pt idx="2">
                  <c:v>0.70000000000000007</c:v>
                </c:pt>
              </c:numCache>
            </c:numRef>
          </c:xVal>
          <c:yVal>
            <c:numRef>
              <c:f>Sheet1!$B$2:$B$4</c:f>
              <c:numCache>
                <c:formatCode>General</c:formatCode>
                <c:ptCount val="3"/>
                <c:pt idx="0">
                  <c:v>6.1371841155234648E-2</c:v>
                </c:pt>
                <c:pt idx="1">
                  <c:v>0.29048851105772189</c:v>
                </c:pt>
                <c:pt idx="2">
                  <c:v>0.263657076483202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4858621326926625"/>
          <c:min val="4.9097472924187729E-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12</c:v>
                </c:pt>
                <c:pt idx="1">
                  <c:v>11.5</c:v>
                </c:pt>
                <c:pt idx="2">
                  <c:v>4.5</c:v>
                </c:pt>
              </c:numCache>
            </c:numRef>
          </c:xVal>
          <c:yVal>
            <c:numRef>
              <c:f>Sheet1!$B$2:$B$4</c:f>
              <c:numCache>
                <c:formatCode>General</c:formatCode>
                <c:ptCount val="3"/>
                <c:pt idx="0">
                  <c:v>6.1371841155234648E-2</c:v>
                </c:pt>
                <c:pt idx="1">
                  <c:v>0.29048851105772189</c:v>
                </c:pt>
                <c:pt idx="2">
                  <c:v>0.263657076483202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4.399999999999999"/>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4858621326926625"/>
          <c:min val="4.9097472924187729E-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491-4A9E-A6D2-ED71BA288589}"/>
                </c:ext>
              </c:extLst>
            </c:dLbl>
            <c:dLbl>
              <c:idx val="12"/>
              <c:tx>
                <c:rich>
                  <a:bodyPr/>
                  <a:lstStyle/>
                  <a:p>
                    <a:r>
                      <a:rPr sz="800"/>
                      <a:t>14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491-4A9E-A6D2-ED71BA288589}"/>
                </c:ext>
              </c:extLst>
            </c:dLbl>
            <c:dLbl>
              <c:idx val="24"/>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491-4A9E-A6D2-ED71BA2885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2</c:v>
                </c:pt>
                <c:pt idx="2">
                  <c:v>102</c:v>
                </c:pt>
                <c:pt idx="3">
                  <c:v>98</c:v>
                </c:pt>
                <c:pt idx="4">
                  <c:v>95</c:v>
                </c:pt>
                <c:pt idx="5">
                  <c:v>114</c:v>
                </c:pt>
                <c:pt idx="6">
                  <c:v>97</c:v>
                </c:pt>
                <c:pt idx="7">
                  <c:v>99</c:v>
                </c:pt>
                <c:pt idx="8">
                  <c:v>94</c:v>
                </c:pt>
                <c:pt idx="9">
                  <c:v>101</c:v>
                </c:pt>
                <c:pt idx="10">
                  <c:v>109</c:v>
                </c:pt>
                <c:pt idx="11">
                  <c:v>117</c:v>
                </c:pt>
                <c:pt idx="12">
                  <c:v>147</c:v>
                </c:pt>
                <c:pt idx="13">
                  <c:v>105</c:v>
                </c:pt>
                <c:pt idx="14">
                  <c:v>121</c:v>
                </c:pt>
                <c:pt idx="15">
                  <c:v>112</c:v>
                </c:pt>
                <c:pt idx="16">
                  <c:v>88</c:v>
                </c:pt>
                <c:pt idx="17">
                  <c:v>95</c:v>
                </c:pt>
                <c:pt idx="18">
                  <c:v>83</c:v>
                </c:pt>
                <c:pt idx="19">
                  <c:v>86</c:v>
                </c:pt>
                <c:pt idx="20">
                  <c:v>76</c:v>
                </c:pt>
                <c:pt idx="21">
                  <c:v>91</c:v>
                </c:pt>
                <c:pt idx="22">
                  <c:v>98</c:v>
                </c:pt>
                <c:pt idx="23">
                  <c:v>92</c:v>
                </c:pt>
                <c:pt idx="24">
                  <c:v>115</c:v>
                </c:pt>
                <c:pt idx="25">
                  <c:v>80</c:v>
                </c:pt>
                <c:pt idx="26">
                  <c:v>104</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1B7-48C7-BBC6-B340EE2B46DB}"/>
                </c:ext>
              </c:extLst>
            </c:dLbl>
            <c:dLbl>
              <c:idx val="23"/>
              <c:tx>
                <c:rich>
                  <a:bodyPr/>
                  <a:lstStyle/>
                  <a:p>
                    <a:r>
                      <a:rPr sz="800"/>
                      <a:t>15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1B7-48C7-BBC6-B340EE2B46DB}"/>
                </c:ext>
              </c:extLst>
            </c:dLbl>
            <c:dLbl>
              <c:idx val="26"/>
              <c:tx>
                <c:rich>
                  <a:bodyPr/>
                  <a:lstStyle/>
                  <a:p>
                    <a:r>
                      <a:rPr sz="800"/>
                      <a:t>1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1B7-48C7-BBC6-B340EE2B46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0</c:v>
                </c:pt>
                <c:pt idx="1">
                  <c:v>84</c:v>
                </c:pt>
                <c:pt idx="2">
                  <c:v>94</c:v>
                </c:pt>
                <c:pt idx="3">
                  <c:v>90</c:v>
                </c:pt>
                <c:pt idx="4">
                  <c:v>91</c:v>
                </c:pt>
                <c:pt idx="5">
                  <c:v>92</c:v>
                </c:pt>
                <c:pt idx="6">
                  <c:v>98</c:v>
                </c:pt>
                <c:pt idx="7">
                  <c:v>99</c:v>
                </c:pt>
                <c:pt idx="8">
                  <c:v>90</c:v>
                </c:pt>
                <c:pt idx="9">
                  <c:v>98</c:v>
                </c:pt>
                <c:pt idx="10">
                  <c:v>102</c:v>
                </c:pt>
                <c:pt idx="11">
                  <c:v>165</c:v>
                </c:pt>
                <c:pt idx="12">
                  <c:v>91</c:v>
                </c:pt>
                <c:pt idx="13">
                  <c:v>93</c:v>
                </c:pt>
                <c:pt idx="14">
                  <c:v>99</c:v>
                </c:pt>
                <c:pt idx="15">
                  <c:v>93</c:v>
                </c:pt>
                <c:pt idx="16">
                  <c:v>96</c:v>
                </c:pt>
                <c:pt idx="17">
                  <c:v>93</c:v>
                </c:pt>
                <c:pt idx="18">
                  <c:v>97</c:v>
                </c:pt>
                <c:pt idx="19">
                  <c:v>94</c:v>
                </c:pt>
                <c:pt idx="20">
                  <c:v>87</c:v>
                </c:pt>
                <c:pt idx="21">
                  <c:v>98</c:v>
                </c:pt>
                <c:pt idx="22">
                  <c:v>102</c:v>
                </c:pt>
                <c:pt idx="23">
                  <c:v>153</c:v>
                </c:pt>
                <c:pt idx="24">
                  <c:v>97</c:v>
                </c:pt>
                <c:pt idx="25">
                  <c:v>91</c:v>
                </c:pt>
                <c:pt idx="26">
                  <c:v>11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91E-4B1E-9608-E38C90C9F12C}"/>
                </c:ext>
              </c:extLst>
            </c:dLbl>
            <c:dLbl>
              <c:idx val="23"/>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91E-4B1E-9608-E38C90C9F12C}"/>
                </c:ext>
              </c:extLst>
            </c:dLbl>
            <c:dLbl>
              <c:idx val="26"/>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91E-4B1E-9608-E38C90C9F1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7</c:v>
                </c:pt>
                <c:pt idx="1">
                  <c:v>92</c:v>
                </c:pt>
                <c:pt idx="2">
                  <c:v>99</c:v>
                </c:pt>
                <c:pt idx="3">
                  <c:v>91</c:v>
                </c:pt>
                <c:pt idx="4">
                  <c:v>98</c:v>
                </c:pt>
                <c:pt idx="5">
                  <c:v>97</c:v>
                </c:pt>
                <c:pt idx="6">
                  <c:v>96</c:v>
                </c:pt>
                <c:pt idx="7">
                  <c:v>111</c:v>
                </c:pt>
                <c:pt idx="8">
                  <c:v>104</c:v>
                </c:pt>
                <c:pt idx="9">
                  <c:v>92</c:v>
                </c:pt>
                <c:pt idx="10">
                  <c:v>105</c:v>
                </c:pt>
                <c:pt idx="11">
                  <c:v>122</c:v>
                </c:pt>
                <c:pt idx="12">
                  <c:v>91</c:v>
                </c:pt>
                <c:pt idx="13">
                  <c:v>98</c:v>
                </c:pt>
                <c:pt idx="14">
                  <c:v>111</c:v>
                </c:pt>
                <c:pt idx="15">
                  <c:v>94</c:v>
                </c:pt>
                <c:pt idx="16">
                  <c:v>92</c:v>
                </c:pt>
                <c:pt idx="17">
                  <c:v>94</c:v>
                </c:pt>
                <c:pt idx="18">
                  <c:v>95</c:v>
                </c:pt>
                <c:pt idx="19">
                  <c:v>109</c:v>
                </c:pt>
                <c:pt idx="20">
                  <c:v>103</c:v>
                </c:pt>
                <c:pt idx="21">
                  <c:v>90</c:v>
                </c:pt>
                <c:pt idx="22">
                  <c:v>102</c:v>
                </c:pt>
                <c:pt idx="23">
                  <c:v>115</c:v>
                </c:pt>
                <c:pt idx="24">
                  <c:v>92</c:v>
                </c:pt>
                <c:pt idx="25">
                  <c:v>95</c:v>
                </c:pt>
                <c:pt idx="26">
                  <c:v>112</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478-42C3-A591-EFA0CAE39508}"/>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478-42C3-A591-EFA0CAE39508}"/>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478-42C3-A591-EFA0CAE395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Equate</c:v>
                </c:pt>
                <c:pt idx="4">
                  <c:v>Harry's</c:v>
                </c:pt>
              </c:strCache>
            </c:strRef>
          </c:cat>
          <c:val>
            <c:numRef>
              <c:f>Sheet1!$B$2:$B$6</c:f>
              <c:numCache>
                <c:formatCode>General</c:formatCode>
                <c:ptCount val="5"/>
                <c:pt idx="0">
                  <c:v>-8.4931012668750583</c:v>
                </c:pt>
                <c:pt idx="1">
                  <c:v>-0.54165499869192579</c:v>
                </c:pt>
                <c:pt idx="2">
                  <c:v>-0.64569720819071874</c:v>
                </c:pt>
                <c:pt idx="3">
                  <c:v>-0.83358088080508452</c:v>
                </c:pt>
                <c:pt idx="4">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BBC-499C-BF76-C2BD76EC861C}"/>
                </c:ext>
              </c:extLst>
            </c:dLbl>
            <c:dLbl>
              <c:idx val="23"/>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BBC-499C-BF76-C2BD76EC861C}"/>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BBC-499C-BF76-C2BD76EC86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8</c:v>
                </c:pt>
                <c:pt idx="2">
                  <c:v>99</c:v>
                </c:pt>
                <c:pt idx="3">
                  <c:v>94</c:v>
                </c:pt>
                <c:pt idx="4">
                  <c:v>98</c:v>
                </c:pt>
                <c:pt idx="5">
                  <c:v>97</c:v>
                </c:pt>
                <c:pt idx="6">
                  <c:v>102</c:v>
                </c:pt>
                <c:pt idx="7">
                  <c:v>106</c:v>
                </c:pt>
                <c:pt idx="8">
                  <c:v>94</c:v>
                </c:pt>
                <c:pt idx="9">
                  <c:v>98</c:v>
                </c:pt>
                <c:pt idx="10">
                  <c:v>99</c:v>
                </c:pt>
                <c:pt idx="11">
                  <c:v>130</c:v>
                </c:pt>
                <c:pt idx="12">
                  <c:v>95</c:v>
                </c:pt>
                <c:pt idx="13">
                  <c:v>92</c:v>
                </c:pt>
                <c:pt idx="14">
                  <c:v>99</c:v>
                </c:pt>
                <c:pt idx="15">
                  <c:v>95</c:v>
                </c:pt>
                <c:pt idx="16">
                  <c:v>100</c:v>
                </c:pt>
                <c:pt idx="17">
                  <c:v>98</c:v>
                </c:pt>
                <c:pt idx="18">
                  <c:v>102</c:v>
                </c:pt>
                <c:pt idx="19">
                  <c:v>104</c:v>
                </c:pt>
                <c:pt idx="20">
                  <c:v>94</c:v>
                </c:pt>
                <c:pt idx="21">
                  <c:v>97</c:v>
                </c:pt>
                <c:pt idx="22">
                  <c:v>95</c:v>
                </c:pt>
                <c:pt idx="23">
                  <c:v>121</c:v>
                </c:pt>
                <c:pt idx="24">
                  <c:v>100</c:v>
                </c:pt>
                <c:pt idx="25">
                  <c:v>92</c:v>
                </c:pt>
                <c:pt idx="26">
                  <c:v>106</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6E-4DEF-945F-4D1241EBB446}"/>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56E-4DEF-945F-4D1241EBB446}"/>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56E-4DEF-945F-4D1241EBB4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3F1-4DC9-B9B2-191848B81C4A}"/>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3F1-4DC9-B9B2-191848B81C4A}"/>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F1-4DC9-B9B2-191848B81C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695-4AF7-B292-77A3769FF73D}"/>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695-4AF7-B292-77A3769FF73D}"/>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695-4AF7-B292-77A3769FF7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9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372-492B-81F9-45E0EDBF7FF5}"/>
                </c:ext>
              </c:extLst>
            </c:dLbl>
            <c:dLbl>
              <c:idx val="23"/>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372-492B-81F9-45E0EDBF7FF5}"/>
                </c:ext>
              </c:extLst>
            </c:dLbl>
            <c:dLbl>
              <c:idx val="26"/>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372-492B-81F9-45E0EDBF7F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55</c:v>
                </c:pt>
                <c:pt idx="1">
                  <c:v>49</c:v>
                </c:pt>
                <c:pt idx="2">
                  <c:v>52</c:v>
                </c:pt>
                <c:pt idx="3">
                  <c:v>58</c:v>
                </c:pt>
                <c:pt idx="4">
                  <c:v>96</c:v>
                </c:pt>
                <c:pt idx="5">
                  <c:v>105</c:v>
                </c:pt>
                <c:pt idx="6">
                  <c:v>101</c:v>
                </c:pt>
                <c:pt idx="7">
                  <c:v>124</c:v>
                </c:pt>
                <c:pt idx="8">
                  <c:v>112</c:v>
                </c:pt>
                <c:pt idx="9">
                  <c:v>114</c:v>
                </c:pt>
                <c:pt idx="10">
                  <c:v>137</c:v>
                </c:pt>
                <c:pt idx="11">
                  <c:v>192</c:v>
                </c:pt>
                <c:pt idx="12">
                  <c:v>84</c:v>
                </c:pt>
                <c:pt idx="13">
                  <c:v>67</c:v>
                </c:pt>
                <c:pt idx="14">
                  <c:v>97</c:v>
                </c:pt>
                <c:pt idx="15">
                  <c:v>105</c:v>
                </c:pt>
                <c:pt idx="16">
                  <c:v>107</c:v>
                </c:pt>
                <c:pt idx="17">
                  <c:v>103</c:v>
                </c:pt>
                <c:pt idx="18">
                  <c:v>104</c:v>
                </c:pt>
                <c:pt idx="19">
                  <c:v>108</c:v>
                </c:pt>
                <c:pt idx="20">
                  <c:v>101</c:v>
                </c:pt>
                <c:pt idx="21">
                  <c:v>91</c:v>
                </c:pt>
                <c:pt idx="22">
                  <c:v>104</c:v>
                </c:pt>
                <c:pt idx="23">
                  <c:v>122</c:v>
                </c:pt>
                <c:pt idx="24">
                  <c:v>93</c:v>
                </c:pt>
                <c:pt idx="25">
                  <c:v>84</c:v>
                </c:pt>
                <c:pt idx="26">
                  <c:v>121</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7D1-4EB5-A3CB-605DEF710066}"/>
                </c:ext>
              </c:extLst>
            </c:dLbl>
            <c:dLbl>
              <c:idx val="14"/>
              <c:tx>
                <c:rich>
                  <a:bodyPr/>
                  <a:lstStyle/>
                  <a:p>
                    <a:r>
                      <a:rPr sz="800"/>
                      <a:t>1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7D1-4EB5-A3CB-605DEF710066}"/>
                </c:ext>
              </c:extLst>
            </c:dLbl>
            <c:dLbl>
              <c:idx val="26"/>
              <c:tx>
                <c:rich>
                  <a:bodyPr/>
                  <a:lstStyle/>
                  <a:p>
                    <a:r>
                      <a:rPr sz="800"/>
                      <a:t>1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7D1-4EB5-A3CB-605DEF7100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99</c:v>
                </c:pt>
                <c:pt idx="2">
                  <c:v>106</c:v>
                </c:pt>
                <c:pt idx="3">
                  <c:v>96</c:v>
                </c:pt>
                <c:pt idx="4">
                  <c:v>98</c:v>
                </c:pt>
                <c:pt idx="5">
                  <c:v>96</c:v>
                </c:pt>
                <c:pt idx="6">
                  <c:v>95</c:v>
                </c:pt>
                <c:pt idx="7">
                  <c:v>109</c:v>
                </c:pt>
                <c:pt idx="8">
                  <c:v>103</c:v>
                </c:pt>
                <c:pt idx="9">
                  <c:v>89</c:v>
                </c:pt>
                <c:pt idx="10">
                  <c:v>100</c:v>
                </c:pt>
                <c:pt idx="11">
                  <c:v>112</c:v>
                </c:pt>
                <c:pt idx="12">
                  <c:v>92</c:v>
                </c:pt>
                <c:pt idx="13">
                  <c:v>105</c:v>
                </c:pt>
                <c:pt idx="14">
                  <c:v>114</c:v>
                </c:pt>
                <c:pt idx="15">
                  <c:v>91</c:v>
                </c:pt>
                <c:pt idx="16">
                  <c:v>88</c:v>
                </c:pt>
                <c:pt idx="17">
                  <c:v>92</c:v>
                </c:pt>
                <c:pt idx="18">
                  <c:v>93</c:v>
                </c:pt>
                <c:pt idx="19">
                  <c:v>109</c:v>
                </c:pt>
                <c:pt idx="20">
                  <c:v>103</c:v>
                </c:pt>
                <c:pt idx="21">
                  <c:v>90</c:v>
                </c:pt>
                <c:pt idx="22">
                  <c:v>101</c:v>
                </c:pt>
                <c:pt idx="23">
                  <c:v>114</c:v>
                </c:pt>
                <c:pt idx="24">
                  <c:v>91</c:v>
                </c:pt>
                <c:pt idx="25">
                  <c:v>98</c:v>
                </c:pt>
                <c:pt idx="26">
                  <c:v>109</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E26-436F-B4A7-6FCBBD56752C}"/>
                </c:ext>
              </c:extLst>
            </c:dLbl>
            <c:dLbl>
              <c:idx val="23"/>
              <c:tx>
                <c:rich>
                  <a:bodyPr/>
                  <a:lstStyle/>
                  <a:p>
                    <a:r>
                      <a:rPr sz="800"/>
                      <a:t>1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E26-436F-B4A7-6FCBBD56752C}"/>
                </c:ext>
              </c:extLst>
            </c:dLbl>
            <c:dLbl>
              <c:idx val="26"/>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E26-436F-B4A7-6FCBBD5675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78</c:v>
                </c:pt>
                <c:pt idx="1">
                  <c:v>80</c:v>
                </c:pt>
                <c:pt idx="2">
                  <c:v>92</c:v>
                </c:pt>
                <c:pt idx="3">
                  <c:v>87</c:v>
                </c:pt>
                <c:pt idx="4">
                  <c:v>94</c:v>
                </c:pt>
                <c:pt idx="5">
                  <c:v>95</c:v>
                </c:pt>
                <c:pt idx="6">
                  <c:v>101</c:v>
                </c:pt>
                <c:pt idx="7">
                  <c:v>109</c:v>
                </c:pt>
                <c:pt idx="8">
                  <c:v>94</c:v>
                </c:pt>
                <c:pt idx="9">
                  <c:v>94</c:v>
                </c:pt>
                <c:pt idx="10">
                  <c:v>102</c:v>
                </c:pt>
                <c:pt idx="11">
                  <c:v>168</c:v>
                </c:pt>
                <c:pt idx="12">
                  <c:v>95</c:v>
                </c:pt>
                <c:pt idx="13">
                  <c:v>91</c:v>
                </c:pt>
                <c:pt idx="14">
                  <c:v>99</c:v>
                </c:pt>
                <c:pt idx="15">
                  <c:v>94</c:v>
                </c:pt>
                <c:pt idx="16">
                  <c:v>102</c:v>
                </c:pt>
                <c:pt idx="17">
                  <c:v>99</c:v>
                </c:pt>
                <c:pt idx="18">
                  <c:v>103</c:v>
                </c:pt>
                <c:pt idx="19">
                  <c:v>103</c:v>
                </c:pt>
                <c:pt idx="20">
                  <c:v>93</c:v>
                </c:pt>
                <c:pt idx="21">
                  <c:v>90</c:v>
                </c:pt>
                <c:pt idx="22">
                  <c:v>90</c:v>
                </c:pt>
                <c:pt idx="23">
                  <c:v>136</c:v>
                </c:pt>
                <c:pt idx="24">
                  <c:v>100</c:v>
                </c:pt>
                <c:pt idx="25">
                  <c:v>92</c:v>
                </c:pt>
                <c:pt idx="26">
                  <c:v>107</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35D-404F-929B-C72BBA36E5EB}"/>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35D-404F-929B-C72BBA36E5EB}"/>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35D-404F-929B-C72BBA36E5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7</c:v>
                </c:pt>
                <c:pt idx="1">
                  <c:v>92</c:v>
                </c:pt>
                <c:pt idx="2">
                  <c:v>104</c:v>
                </c:pt>
                <c:pt idx="3">
                  <c:v>98</c:v>
                </c:pt>
                <c:pt idx="4">
                  <c:v>101</c:v>
                </c:pt>
                <c:pt idx="5">
                  <c:v>99</c:v>
                </c:pt>
                <c:pt idx="6">
                  <c:v>104</c:v>
                </c:pt>
                <c:pt idx="7">
                  <c:v>105</c:v>
                </c:pt>
                <c:pt idx="8">
                  <c:v>95</c:v>
                </c:pt>
                <c:pt idx="9">
                  <c:v>97</c:v>
                </c:pt>
                <c:pt idx="10">
                  <c:v>94</c:v>
                </c:pt>
                <c:pt idx="11">
                  <c:v>107</c:v>
                </c:pt>
                <c:pt idx="12">
                  <c:v>98</c:v>
                </c:pt>
                <c:pt idx="13">
                  <c:v>95</c:v>
                </c:pt>
                <c:pt idx="14">
                  <c:v>101</c:v>
                </c:pt>
                <c:pt idx="15">
                  <c:v>95</c:v>
                </c:pt>
                <c:pt idx="16">
                  <c:v>100</c:v>
                </c:pt>
                <c:pt idx="17">
                  <c:v>99</c:v>
                </c:pt>
                <c:pt idx="18">
                  <c:v>103</c:v>
                </c:pt>
                <c:pt idx="19">
                  <c:v>105</c:v>
                </c:pt>
                <c:pt idx="20">
                  <c:v>96</c:v>
                </c:pt>
                <c:pt idx="21">
                  <c:v>99</c:v>
                </c:pt>
                <c:pt idx="22">
                  <c:v>96</c:v>
                </c:pt>
                <c:pt idx="23">
                  <c:v>107</c:v>
                </c:pt>
                <c:pt idx="24">
                  <c:v>101</c:v>
                </c:pt>
                <c:pt idx="25">
                  <c:v>92</c:v>
                </c:pt>
                <c:pt idx="26">
                  <c:v>106</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5687A7B4-D7EE-4099-94B9-38FD47962A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A2D59A40-F473-4A77-970A-2089CCFBE6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719FBD2B-728C-4441-8571-15220D409A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0C8D38AE-71B9-428A-A7CE-6660F93A4F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44B70F89-0EE7-4DC5-A7DB-5E73A7C375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5D5150F-8680-452E-8BE6-90A2734664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D1F7C3D8-CA88-4387-BF66-8D6BEFBCE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1845B9FF-9A4D-402C-B332-B94C54F667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C8B5EEDC-8604-498A-AF87-6E124E99C3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D61AD10C-1DA0-475F-A3E1-A6ECB66951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FCB9C08-EDC3-467D-AEDE-43211037D4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83093257-7DBE-4AAE-B035-A97EBDE434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05D8B3F-C83B-485D-B328-33EA6CC279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9D3E86D2-8D87-4B20-9BBE-0B32D0EB64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A7203F5-3153-4490-9572-8CEBF1AF6D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9E036D4E-AA32-4EB8-8015-2791D28EF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9C295E6-CE98-4175-8CF8-D083D2D0DA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A01D1426-253C-49FA-A867-3942821621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EEA0C8D2-2524-4289-A829-D486A7A0B5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C98D47AD-C4B1-4940-8592-2CECC48F0D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E3369B8A-D106-4AFC-B452-645B000C2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1E93429A-9424-4F8E-AE78-CB0FB978AD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635E9B43-D278-45C7-A70D-4960FC0427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92E9D27-C8B5-44CD-8D65-95E54CDF7A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43151C58-EC12-474B-8A08-5C8310DEC8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3F047A9C-D9D9-4A65-93C7-136ED084B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435C5ED3-64CA-4559-9FA7-A3B0AF16E8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CAF0FF1E-AA76-4BB1-A5A7-122FB695D1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E6EB6094-68D4-4746-9FED-FF5315FF99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3EF1AEA1-DBF8-47E5-BBA2-01D6FE6CAB0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6F3F-4891-A588-66FCA4279EF0}"/>
                </c:ext>
              </c:extLst>
            </c:dLbl>
            <c:dLbl>
              <c:idx val="46"/>
              <c:tx>
                <c:rich>
                  <a:bodyPr/>
                  <a:lstStyle/>
                  <a:p>
                    <a:fld id="{FE76F2AB-F886-4A19-9173-80758D8CE7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2B014969-D124-4BFD-8829-164C427CCD5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AD903AE0-FB0E-447D-ABA8-DBE0B9E628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5B6B8CF5-D1F9-425C-97A9-0779B3A39F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1770506499326</c:v>
                </c:pt>
                <c:pt idx="1">
                  <c:v>0.12184098272105359</c:v>
                </c:pt>
                <c:pt idx="2">
                  <c:v>0.19018759554799902</c:v>
                </c:pt>
                <c:pt idx="3">
                  <c:v>0.1403238431935146</c:v>
                </c:pt>
                <c:pt idx="6">
                  <c:v>0.13979818966998886</c:v>
                </c:pt>
                <c:pt idx="8">
                  <c:v>0.11070850995352473</c:v>
                </c:pt>
                <c:pt idx="9">
                  <c:v>0.27959904273754699</c:v>
                </c:pt>
                <c:pt idx="10">
                  <c:v>0.30658023166517162</c:v>
                </c:pt>
                <c:pt idx="11">
                  <c:v>0.22900985604286539</c:v>
                </c:pt>
                <c:pt idx="12">
                  <c:v>0.35222284581950392</c:v>
                </c:pt>
                <c:pt idx="13">
                  <c:v>0.37066507242125163</c:v>
                </c:pt>
                <c:pt idx="17">
                  <c:v>0.41596848634506278</c:v>
                </c:pt>
                <c:pt idx="18">
                  <c:v>0.54917780205619515</c:v>
                </c:pt>
                <c:pt idx="19">
                  <c:v>0.64936726085181662</c:v>
                </c:pt>
                <c:pt idx="20">
                  <c:v>0.39265997978384265</c:v>
                </c:pt>
                <c:pt idx="28">
                  <c:v>0.16810621011354024</c:v>
                </c:pt>
                <c:pt idx="29">
                  <c:v>0.37472799959516218</c:v>
                </c:pt>
                <c:pt idx="30">
                  <c:v>0.18008336310587114</c:v>
                </c:pt>
                <c:pt idx="31">
                  <c:v>0.35760854777776613</c:v>
                </c:pt>
                <c:pt idx="32">
                  <c:v>0.29457202831441714</c:v>
                </c:pt>
                <c:pt idx="33">
                  <c:v>0.18821315197200955</c:v>
                </c:pt>
                <c:pt idx="35">
                  <c:v>7.6286530039083214E-2</c:v>
                </c:pt>
                <c:pt idx="36">
                  <c:v>0.73126908968204718</c:v>
                </c:pt>
                <c:pt idx="37">
                  <c:v>0.75944983818770229</c:v>
                </c:pt>
                <c:pt idx="38">
                  <c:v>0.5469623977496848</c:v>
                </c:pt>
                <c:pt idx="39">
                  <c:v>8.5957627198036402E-2</c:v>
                </c:pt>
                <c:pt idx="40">
                  <c:v>0.40222629336094629</c:v>
                </c:pt>
                <c:pt idx="41">
                  <c:v>0.45464912538298141</c:v>
                </c:pt>
                <c:pt idx="42">
                  <c:v>0.424101578180128</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7ECAC4"/>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C5319ABD-7911-43FA-B435-3AAF9C013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2D78FA61-C292-4861-90DB-908A00AB2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F37D87C-CDED-4462-A6B2-5182223E1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D18AC861-8AC2-45F7-8679-3AAA7A6B2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474A6AEA-7FFE-4E10-A604-466DF22B7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F17FC272-F4FB-4CE4-A57D-EBF3DAA0C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673C7521-B112-42BB-9E1A-11CCB1A42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D9A2A2CF-C224-48FF-B6B7-AF6438837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9E8A7A8-EBB6-4A77-B953-8042B01BE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464C4101-13E1-4115-A188-ABA951820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E7FA3678-85D6-4D8F-ADD3-E3D1502A6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22009617-68C1-45E2-8028-EBA306C69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6B13A546-D4BA-4308-9796-D25A5751A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85A4DAAB-E333-49B0-9797-50140CE9E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B8388A5E-6031-4AA6-9E07-1D7EC4323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9DEBB64E-F28F-4C96-AACC-EC40BFAB1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6D91CDBF-6499-40A5-A2DF-02E9112A3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93F2DE7A-D1F4-46B7-B04E-9BB12FB36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6687AFBE-C80C-4864-B8D0-44808B21F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8265EDC6-B5F1-4BC3-BBF5-752417CB9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C09DF0E2-3E87-4405-8ED9-BD259C8B6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FFF057DE-AB14-485E-BA62-59A01AC77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1371A227-DEDA-4A33-A8B8-1CF4862A5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5FD37245-0829-4D11-B442-D7D3C3B00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D62C0CF4-3CD5-4974-BB99-6F0C3F6DC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A495CCC3-E383-443A-AE3D-30863A826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F50650CF-EAE8-467C-83EC-6DA30EA46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8B9EC757-F7B1-4A4B-A991-3419FA6F4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F1115A67-7C98-4102-867F-A68036FAF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660DF20C-8829-42BC-AE3D-D94E36BE3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295B6970-5892-46B9-9EDE-522AED89C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A49FC9CF-5AEA-46A3-8E62-3E50F7D27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5FFF60D8-58DB-4D14-94FD-832F0E98C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0B359840-E39D-4DD7-B987-FBB636E6D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41D244C4-628A-4883-8965-CD98B4D37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19BBF98B-2F32-454D-976A-B1BF539F9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DE36DA1B-32FB-4481-B5A2-8FA00B8B5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A5BC9DB6-6B2A-4A22-A693-DCBD1DDD9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D2F76956-FB03-494E-8B2B-D2D5D5938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A1988836-F47F-4374-BAED-690F3F5A5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B352281E-C38B-4781-9D27-805C799DC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4CE54B6F-2AEB-4EF9-9A27-1535FB43C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3563E006-17B4-49E9-B1FE-2E039EA64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36192E44-4B5B-402D-9FC8-7660A5D83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C64D1FB7-2F1C-4F6B-9B26-C1C3EF37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5F18FD70-386B-45FE-8A39-05181A246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0A9C2603-6601-4B29-A36F-C1EE85168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614DA8F6-097F-46FE-AE61-0BAB30B8E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19AE9995-57A6-4F8C-9CD8-1DD41E940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388E29AE-AF5F-44FF-B049-1ABE67A4F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35A8C84E-75D2-4AF7-8AAC-BD832C615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E27FD18D-69F9-4622-986C-F5ADE281A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6775B248-0DB7-476F-80D0-445637CDD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8D9EB110-301A-4FCE-95A7-8ECB802D0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0903567A-1D96-4332-99AE-B8F26C6CE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3E7106F5-7EA7-4FB0-B2EB-371564F6C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3DAE3C48-222D-4357-A7A0-99FD1C99B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55DB879C-36B9-49FE-8EF9-F33D4C0F1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092265AA-B651-441C-8DA0-16903BD33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A1875B47-47AB-4BDA-8AD6-719850785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3D6CC7E1-AA4F-48F7-93A8-FAF0957B8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A3C60FE6-9CC1-4A1A-A6E0-D0A3AFA69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FFE667D3-E84E-4C97-9842-8BB4DF20E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C152DB3A-BD4B-4D2F-827A-1955BF0DD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BEF2FB9A-A607-43A3-BAD7-2C5D666B9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9413CE2A-CFF3-443D-B777-C411982F2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68213641-0445-4D49-8C59-16734F979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76200182-7C2A-47CB-B607-620F2E86F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6D92271F-C803-4DA6-B757-6F4D15211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0B43D77-5365-4759-8CB9-A5C1F1E60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815C9764-843B-419A-B704-7AD0AF663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C1B79F6A-6A67-4126-92B3-8E4DDA586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33448E9F-7458-488E-B40B-53B078F1F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DC6ACD17-6DA7-462B-85E0-B960F2F10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A220F504-0080-4354-AFB7-A662E4D9B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B05F5A9C-9E3C-4912-B379-498BF27F5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C6F05B3D-8CB5-418D-AA9E-835071910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0C504E32-D94F-472C-A03F-AB0142AFE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92B60A22-F751-48A1-B645-D7A43EC3E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675DCD6F-6BDA-44D9-B457-213B26F7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091536CD-826D-4A45-816F-94EF1B30B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8C669F26-46A1-4825-B8BD-50DC37B32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BC85BC8B-84F3-484E-820A-7CB13D583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70C3A27B-3D11-4B27-8DD0-B08D9B80D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7DBC10AD-5601-4AD1-A2B6-AD81305AF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D157569D-4215-4847-A8F2-6E6DAC4E8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CB1D6D3A-9545-4D7A-9406-FDCD1A4C5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E0A00B58-A3A2-4482-B3F2-88D3F96E8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BB32268A-A5F8-4AF1-8874-835622D8D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8FBC4EB4-4D89-4431-8F6D-6D29A5D0E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3AC5400A-DC7C-4A6B-935C-C73E5F7CE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F227B42B-79B5-4F3A-B263-D6B3189E2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38C86141-15E8-4F95-BA30-DF1266679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FFE08253-4E25-4DD8-92CB-FBC931807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34C4B9DC-DCF4-41A3-B799-88BF4E21D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52173102-3589-45AB-A4DB-94844DCF3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B7B57F79-F5D9-42E1-9578-2A83E0145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9004D8E3-8DF8-4410-8F4C-580CF9E19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CC818560-96F2-41B0-A055-A422865D5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C4032B39-8172-42D9-A0ED-C59B565CC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934F4EF-D594-4E33-A7DD-12283C5ED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F649B5B0-D931-4131-82C3-413AEC44D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29795513-3090-4E2E-B895-E5E7FF16B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FB67EA80-2F34-483C-8F14-A5EAB9D6D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063A8032-718D-4CE3-8593-93470BFF8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4626343E-7E91-474B-A681-56F9CD349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6046EF8F-8589-4D7E-8A20-C27A0FE74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97811064-6DEF-4307-8BDA-3EECF963C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20081966-425A-4DF3-9D3A-3C24C0B48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CA36A051-749B-485F-BC8F-4053B71B4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0959A530-BA1A-4707-9A70-61B7C25E0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CECB469D-7D8F-43F9-8137-9E9A82C27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16075A95-9CD0-4EF5-9C19-58DD54532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697306C1-CC0D-401B-A3F3-CAC47282F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67EA1773-B29D-44E0-9821-6EB2F682E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1F06591-FACB-4625-BC51-297D046AA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29727399282</c:v>
                </c:pt>
                <c:pt idx="1">
                  <c:v>0.53171493485300692</c:v>
                </c:pt>
                <c:pt idx="2">
                  <c:v>0.23134599885546031</c:v>
                </c:pt>
                <c:pt idx="3">
                  <c:v>0.16872448312720459</c:v>
                </c:pt>
                <c:pt idx="4">
                  <c:v>0</c:v>
                </c:pt>
                <c:pt idx="5">
                  <c:v>0.17147629346397339</c:v>
                </c:pt>
                <c:pt idx="6">
                  <c:v>-1.7224132063395691E-2</c:v>
                </c:pt>
                <c:pt idx="7">
                  <c:v>0</c:v>
                </c:pt>
                <c:pt idx="8">
                  <c:v>9.1688710957997632E-2</c:v>
                </c:pt>
                <c:pt idx="9">
                  <c:v>-6.0466840881935003E-3</c:v>
                </c:pt>
                <c:pt idx="10">
                  <c:v>0.13293961100065049</c:v>
                </c:pt>
              </c:numCache>
            </c:numRef>
          </c:yVal>
          <c:bubbleSize>
            <c:numRef>
              <c:f>Sheet1!$C$2:$C$12</c:f>
              <c:numCache>
                <c:formatCode>General</c:formatCode>
                <c:ptCount val="11"/>
                <c:pt idx="0">
                  <c:v>56285498</c:v>
                </c:pt>
                <c:pt idx="1">
                  <c:v>892564</c:v>
                </c:pt>
                <c:pt idx="2">
                  <c:v>6252872</c:v>
                </c:pt>
                <c:pt idx="3">
                  <c:v>10656803</c:v>
                </c:pt>
                <c:pt idx="4">
                  <c:v>423669</c:v>
                </c:pt>
                <c:pt idx="5">
                  <c:v>4603858</c:v>
                </c:pt>
                <c:pt idx="6">
                  <c:v>1929113</c:v>
                </c:pt>
                <c:pt idx="7">
                  <c:v>9544</c:v>
                </c:pt>
                <c:pt idx="8">
                  <c:v>773970</c:v>
                </c:pt>
                <c:pt idx="9">
                  <c:v>1471589</c:v>
                </c:pt>
                <c:pt idx="10">
                  <c:v>627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Schick</c:v>
                  </c:pt>
                  <c:pt idx="3">
                    <c:v>Gillette</c:v>
                  </c:pt>
                  <c:pt idx="4">
                    <c:v>Harry's</c:v>
                  </c:pt>
                  <c:pt idx="5">
                    <c:v>Bic</c:v>
                  </c:pt>
                  <c:pt idx="6">
                    <c:v>Dollar Shave Club</c:v>
                  </c:pt>
                  <c:pt idx="7">
                    <c:v>Van Der Hagen</c:v>
                  </c:pt>
                  <c:pt idx="8">
                    <c:v>Comfort 3</c:v>
                  </c:pt>
                  <c:pt idx="9">
                    <c:v>Equate</c:v>
                  </c:pt>
                  <c:pt idx="10">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F80D00E-2AE2-4CDE-84AE-6646B54D49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5131E3C4-EA8F-426B-8CEA-BA9523BD0A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A6DA9FCE-4AA3-49C0-B05C-6CBA0D2CE0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71EBF1B9-5389-41AF-BB72-E0C82EEB6A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D34D4BC-7CA1-4E25-AB5D-B4DED1C1B9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227DC4BE-34A9-4F07-8597-A85263DBCA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DC4E7DBA-3E18-49FE-B0E5-726BA5805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1569E4B-890B-4F02-8409-1C120A7F01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1425330E-EB61-428D-A486-9BFC796A12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9184EB08-9C6C-4DC6-8D51-1B77104405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0717640A-9340-48F7-8094-66D865C27B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125EDC37-76B0-46AD-BCBF-E4082C6B9A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7732B7ED-428E-4BAE-A093-11B80AC59B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4D91DEED-17F8-4CBD-8E40-FD4A39BD50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97668230-54CA-49A9-893E-46CE96C4B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60EECC9F-F150-4339-9B4F-2176CFE34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126DFA80-3645-42B4-9437-131310E55D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44D89338-AC90-430C-B54E-B2E24A6BAE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DF93DEF3-2946-46EF-ADE0-5498C4D6F5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0ABB6BA-FDAB-4BC6-BB7F-1FFD7AE836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209567B5-C6CA-4DF4-8C01-BA0B004EF2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B58487D-9B74-4760-80A5-CDC5C520A8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2BAE012A-9F9B-4883-8F82-F99730EFE7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E77B37F-3BF6-47BE-983D-C106016A10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29CC66A2-4430-4A26-99A5-7D9F6E16969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3DE2FD97-4D07-4AD1-AD1C-B610C82DAD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988F9B62-8C21-415F-88D2-619DC6C84D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1EFE56E-E4FD-453D-94F1-B9B77FCCB6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9415BBC1-6CDD-4C54-AE2C-4150B99BE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FCC373BC-E4B8-40B4-B4AB-8157FF116C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C59D5B7A-0E85-43AA-9580-485DFEE2D0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DE140148-E73D-4FDD-99D5-4ED495A034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429FB532-EDCF-426D-AEC7-55331E1554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6AFF06C7-517F-422B-887D-2BDB66A01D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6002E846-6FE7-435D-8EE7-2B9145E1F5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322A69E6-F625-45CF-AC7E-CFF6A75798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6B90DFCA-4D0E-4D3B-A6E1-F1F46A27F3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317B86A-63D6-43D8-8CD5-798689526A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C63CC8EA-BDEA-4D9A-8EA0-1F34AB1C4EA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D08ECF06-13FB-4A7C-965E-6C8D0C9774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6F3F-4891-A588-66FCA4279EF0}"/>
                </c:ext>
              </c:extLst>
            </c:dLbl>
            <c:dLbl>
              <c:idx val="12"/>
              <c:tx>
                <c:rich>
                  <a:bodyPr/>
                  <a:lstStyle/>
                  <a:p>
                    <a:fld id="{FD0CBFB7-BC67-4A82-BAF0-F8D32DAFDF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E3F7F68A-27C0-45B3-B45C-7887E861BD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F3F-4891-A588-66FCA4279EF0}"/>
                </c:ext>
              </c:extLst>
            </c:dLbl>
            <c:dLbl>
              <c:idx val="15"/>
              <c:tx>
                <c:rich>
                  <a:bodyPr/>
                  <a:lstStyle/>
                  <a:p>
                    <a:fld id="{EF800AEF-E54B-4159-A2F9-A01399EE25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EA8CC000-4AD7-4ED6-B9FD-1ED98B82DCB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F3F-4891-A588-66FCA4279EF0}"/>
                </c:ext>
              </c:extLst>
            </c:dLbl>
            <c:dLbl>
              <c:idx val="18"/>
              <c:tx>
                <c:rich>
                  <a:bodyPr/>
                  <a:lstStyle/>
                  <a:p>
                    <a:fld id="{D5012894-4DD2-4A21-8C58-135F5E8137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AB4303AD-2C8B-406E-8C11-85154FC6CF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4ED3A88A-D208-49A5-8B51-89BC5DB3287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B1A2EB13-B70C-4E36-ADC6-208C24DA7F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71172553-1DC7-463E-AC52-637CB5B933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39570667-D38A-40F2-A0E8-0FC212E93F0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139255E7-4C30-4790-9CCB-CC1201C3CC1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FF4CD92F-9512-4BF9-97BD-CE9E977477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524B17CF-4B07-4A8B-859D-A33167C76D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F3F-4891-A588-66FCA4279EF0}"/>
                </c:ext>
              </c:extLst>
            </c:dLbl>
            <c:dLbl>
              <c:idx val="33"/>
              <c:tx>
                <c:rich>
                  <a:bodyPr/>
                  <a:lstStyle/>
                  <a:p>
                    <a:fld id="{56E83163-0F8C-462B-A090-8AB87B2F3D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89FB36CB-F51F-49EA-9A8A-02DE88631D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49136523-2995-4B40-9DA6-7037B49799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B3083649-D116-40E2-89DC-38D57D16EB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2C9EB676-DFF7-46D7-ABF4-3F94731218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F3F-4891-A588-66FCA4279EF0}"/>
                </c:ext>
              </c:extLst>
            </c:dLbl>
            <c:dLbl>
              <c:idx val="40"/>
              <c:tx>
                <c:rich>
                  <a:bodyPr/>
                  <a:lstStyle/>
                  <a:p>
                    <a:fld id="{AA30128D-7AB4-4C3D-BA4E-3C1F196B47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D738F1E6-7E9F-4378-8929-D6FBF85AE3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FE9B7369-4075-4B09-8A94-288C77698A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5AB995B7-C485-4AD4-812E-031FEEFB29E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6F3F-4891-A588-66FCA4279EF0}"/>
                </c:ext>
              </c:extLst>
            </c:dLbl>
            <c:dLbl>
              <c:idx val="46"/>
              <c:tx>
                <c:rich>
                  <a:bodyPr/>
                  <a:lstStyle/>
                  <a:p>
                    <a:fld id="{4F6B97A0-3D96-4367-A481-A8BFCD13AA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306C32F0-CF9D-4A36-86F3-005939B8AA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7F1F3853-5F25-4DC5-B428-5A5091262A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04A6691F-BFDA-4CE8-96F4-B6BDC7CE85E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7228-458D-9A23-68D1DEB558DE}"/>
              </c:ext>
            </c:extLst>
          </c:dPt>
          <c:dLbls>
            <c:dLbl>
              <c:idx val="38"/>
              <c:tx>
                <c:rich>
                  <a:bodyPr/>
                  <a:lstStyle/>
                  <a:p>
                    <a:r>
                      <a:rPr sz="800">
                        <a:solidFill>
                          <a:srgbClr val="00A097"/>
                        </a:solidFill>
                      </a:rP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228-458D-9A23-68D1DEB558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72C9-488E-965B-CA76CD6B022D}"/>
              </c:ext>
            </c:extLst>
          </c:dPt>
          <c:dLbls>
            <c:dLbl>
              <c:idx val="38"/>
              <c:tx>
                <c:rich>
                  <a:bodyPr/>
                  <a:lstStyle/>
                  <a:p>
                    <a:r>
                      <a:rPr sz="800">
                        <a:solidFill>
                          <a:srgbClr val="00A097"/>
                        </a:solidFill>
                      </a:rP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2C9-488E-965B-CA76CD6B02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434A03BC-EC23-4523-9861-DC82B9C45A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73E1E901-FF00-47BD-8563-B4DAEEB6BA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4AA3C7D1-E10C-4FE1-9E8A-E89EF1E5ECC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C4B8CBBD-E1D6-4179-B2D7-110804BDBF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E7A3809-A291-4B03-8D48-91DC41C9D1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E33DCD36-CBB9-4B7C-AB25-1F2339E78B5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168D1CDF-D05F-4D8E-9C10-C213B97BCA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E04228E6-70BF-4FF6-8050-835DF1790FC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B2D70243-A7D4-4B12-A775-EDE7BCAA19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C26F1281-A3D2-49F6-9545-00C8B2BDCD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9AC44FC6-E368-43E4-9B39-DF75A67B58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DB340A56-BC29-4A6D-A57A-2D1CF0F64D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D65F178F-B711-403E-8A24-6A07C97EE1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B42F4560-BE86-4890-83E0-D38F5621E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2ACA9571-1908-4092-96D0-BAF90FDBFC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76104DAD-A2AD-4F35-A449-347CD659F2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AFCA-4943-AA4B-9818CF1C0054}"/>
                </c:ext>
              </c:extLst>
            </c:dLbl>
            <c:dLbl>
              <c:idx val="25"/>
              <c:tx>
                <c:rich>
                  <a:bodyPr/>
                  <a:lstStyle/>
                  <a:p>
                    <a:fld id="{32EE4796-9399-4FF4-87C7-C3020160E5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E2C68C9E-9951-48C0-A4B6-9A29189A69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45165FB8-873A-4BB6-AC29-57B0B52BF8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C31D6F13-B17F-49E7-9D18-97F348E3E0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AFCA-4943-AA4B-9818CF1C0054}"/>
                </c:ext>
              </c:extLst>
            </c:dLbl>
            <c:dLbl>
              <c:idx val="31"/>
              <c:tx>
                <c:rich>
                  <a:bodyPr/>
                  <a:lstStyle/>
                  <a:p>
                    <a:fld id="{BDAD8C8B-852D-4D34-A8CF-54FFA94E36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4824A44-4C82-481D-9DE3-EEFFDF37C4F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B512A0C9-060F-4348-9A95-91ABADE33D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AFCA-4943-AA4B-9818CF1C0054}"/>
                </c:ext>
              </c:extLst>
            </c:dLbl>
            <c:dLbl>
              <c:idx val="37"/>
              <c:tx>
                <c:rich>
                  <a:bodyPr/>
                  <a:lstStyle/>
                  <a:p>
                    <a:fld id="{19A7E4D3-667A-45EA-AABC-3B67D6219F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51969DDA-E09F-406F-B06B-9383606F37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AFCA-4943-AA4B-9818CF1C0054}"/>
                </c:ext>
              </c:extLst>
            </c:dLbl>
            <c:dLbl>
              <c:idx val="39"/>
              <c:tx>
                <c:rich>
                  <a:bodyPr/>
                  <a:lstStyle/>
                  <a:p>
                    <a:fld id="{7F282820-46E3-45BC-AAFD-1D51FBBE82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CEC03173-CA82-4430-B85E-CE412E61EB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94DFFC19-F6E2-4B22-B1FE-8D832B6228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B16591F2-E886-4780-A61A-004747441FE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F0DDFC03-90B2-48A5-AF2A-D85DB94726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18E49142-4047-4158-80A2-CFEC7F43D1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39B26F2D-AB55-4DEC-9F51-39D7BFA4BA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5">
                  <c:v>1</c:v>
                </c:pt>
                <c:pt idx="6">
                  <c:v>1</c:v>
                </c:pt>
                <c:pt idx="7">
                  <c:v>1</c:v>
                </c:pt>
                <c:pt idx="10">
                  <c:v>1</c:v>
                </c:pt>
                <c:pt idx="11">
                  <c:v>1</c:v>
                </c:pt>
                <c:pt idx="12">
                  <c:v>1</c:v>
                </c:pt>
                <c:pt idx="13">
                  <c:v>1</c:v>
                </c:pt>
                <c:pt idx="14">
                  <c:v>1</c:v>
                </c:pt>
                <c:pt idx="15">
                  <c:v>1</c:v>
                </c:pt>
                <c:pt idx="16">
                  <c:v>1</c:v>
                </c:pt>
                <c:pt idx="17">
                  <c:v>1</c:v>
                </c:pt>
                <c:pt idx="18">
                  <c:v>1</c:v>
                </c:pt>
                <c:pt idx="25">
                  <c:v>1</c:v>
                </c:pt>
                <c:pt idx="26">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15C78EB8-DAA0-4AD3-86E3-CCE839F498E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FF41FF6-580C-4C78-A005-DD4B6D65220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93FF1D76-49DE-426C-866B-DF36224FEF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B2A79AB1-7495-42C5-8BD5-414702F6004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8BE30C77-4D1F-413E-9CC1-6121F8F32A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CFBC1D14-4A3B-4DDE-B73A-8D1749FB46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9B4E6D3C-145E-490A-8898-84B4126E90A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B0CC2FE9-9DDC-469B-83A9-9ED966D3F6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6F701CA6-0BAC-47F6-A888-3C214DB92A7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6F3F-4891-A588-66FCA4279EF0}"/>
                </c:ext>
              </c:extLst>
            </c:dLbl>
            <c:dLbl>
              <c:idx val="12"/>
              <c:tx>
                <c:rich>
                  <a:bodyPr/>
                  <a:lstStyle/>
                  <a:p>
                    <a:fld id="{A257AA8C-A294-4A5B-86B9-838E82F902A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26342C13-405B-424E-B91B-7E6E825D0E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F3F-4891-A588-66FCA4279EF0}"/>
                </c:ext>
              </c:extLst>
            </c:dLbl>
            <c:dLbl>
              <c:idx val="15"/>
              <c:tx>
                <c:rich>
                  <a:bodyPr/>
                  <a:lstStyle/>
                  <a:p>
                    <a:fld id="{0F3F093B-5F99-4129-8556-1B4B2A0A006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B0E79778-38E8-4F93-AE1A-23D3485366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F3F-4891-A588-66FCA4279EF0}"/>
                </c:ext>
              </c:extLst>
            </c:dLbl>
            <c:dLbl>
              <c:idx val="18"/>
              <c:tx>
                <c:rich>
                  <a:bodyPr/>
                  <a:lstStyle/>
                  <a:p>
                    <a:fld id="{8669523E-7872-4BD4-97F1-E2595E208D7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352FAB86-6A8B-4EDB-98E8-CF37C6BF3B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155E666F-DC96-42D2-8786-FC717F80B2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D209FCA0-B0CB-442F-AAF5-6AF6423843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135B2C92-2DA0-409A-83E3-FA01DA8B1B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CAAF15ED-BF77-4E87-A601-EE05AB36CA0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6B5DB9FB-BF1E-4D45-A0E8-C33E4ECAE8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39097EE0-D8EF-45F2-9F41-57179506A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D646A729-56E5-480C-A431-A340B4A9A9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F3F-4891-A588-66FCA4279EF0}"/>
                </c:ext>
              </c:extLst>
            </c:dLbl>
            <c:dLbl>
              <c:idx val="33"/>
              <c:tx>
                <c:rich>
                  <a:bodyPr/>
                  <a:lstStyle/>
                  <a:p>
                    <a:fld id="{8C2B64E4-F8B5-4D24-A64D-1490986C3F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B8A1E587-682D-48F7-9737-A50A32B44D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3CF204CC-4BDC-4C4A-A613-228167F894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03CE25ED-6C5F-4B7B-8276-415AAEE092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D1CA4B18-8DEB-4B9F-A346-A8F75FB8BD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F3F-4891-A588-66FCA4279EF0}"/>
                </c:ext>
              </c:extLst>
            </c:dLbl>
            <c:dLbl>
              <c:idx val="40"/>
              <c:tx>
                <c:rich>
                  <a:bodyPr/>
                  <a:lstStyle/>
                  <a:p>
                    <a:fld id="{FB12F084-340F-4958-8F85-5FE998552A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EC3FEB69-0303-4871-A95B-3170CFFAC0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73215BBC-F707-44BC-A4B4-4A70F6FF0B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43AE2D34-C0AE-4C82-A221-6A2B9FE4D85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6F3F-4891-A588-66FCA4279EF0}"/>
                </c:ext>
              </c:extLst>
            </c:dLbl>
            <c:dLbl>
              <c:idx val="46"/>
              <c:tx>
                <c:rich>
                  <a:bodyPr/>
                  <a:lstStyle/>
                  <a:p>
                    <a:fld id="{5E28272E-9259-419A-9628-5942ABB188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F27ECA89-1EA3-4463-986A-1D5B5D356D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4C15EB30-125A-42E0-840F-60AB3439AC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408A0C9C-1C46-4BFF-A086-026974A516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C11B-4A7E-8D7F-BA189E17A67F}"/>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11B-4A7E-8D7F-BA189E17A6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6B80-4051-8BFD-50815EEF91E4}"/>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B80-4051-8BFD-50815EEF91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9B4E461-1A93-4AB8-8B13-3DE1BBBDB4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111D0CBB-EE04-4A5A-8B3B-8AD783FD20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56A02DCF-C717-42A4-8576-C9C2456454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63008BA8-CD7D-449E-A3A7-C20991EAE5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99ECC507-3A53-4E1D-929B-E4758FB598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A474F687-2F76-4A09-8200-4A469B3F06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62CCBB0D-9A90-4B62-9F95-9FB7C19DDC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89D95CAF-B04A-4570-B3D2-6889B0F5C6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88C349F3-B780-439C-8E83-454BED75D6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5D654328-17B9-4221-849F-9718052AA6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AFCA-4943-AA4B-9818CF1C0054}"/>
                </c:ext>
              </c:extLst>
            </c:dLbl>
            <c:dLbl>
              <c:idx val="13"/>
              <c:tx>
                <c:rich>
                  <a:bodyPr/>
                  <a:lstStyle/>
                  <a:p>
                    <a:fld id="{5965DA96-8402-4952-A7F4-6E61A2B2D86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51009395-6ECF-4091-B4E1-9337819519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A59A6EBC-CE17-4AAE-B356-421F649A90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AFCA-4943-AA4B-9818CF1C0054}"/>
                </c:ext>
              </c:extLst>
            </c:dLbl>
            <c:dLbl>
              <c:idx val="19"/>
              <c:tx>
                <c:rich>
                  <a:bodyPr/>
                  <a:lstStyle/>
                  <a:p>
                    <a:fld id="{8300281D-04D1-4C74-97B8-9568B4FB2C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15BF0255-09FC-4194-982B-46B948766F2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D00EBFA6-1F65-4487-8814-2A2F6B1D68F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AFCA-4943-AA4B-9818CF1C0054}"/>
                </c:ext>
              </c:extLst>
            </c:dLbl>
            <c:dLbl>
              <c:idx val="25"/>
              <c:tx>
                <c:rich>
                  <a:bodyPr/>
                  <a:lstStyle/>
                  <a:p>
                    <a:fld id="{9A6BD21C-56FE-456E-8D99-18D5A388AE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A1DB23BF-3D54-4D63-98DA-81B2F079BF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09EA4EC8-472C-42AA-9C1E-43136F439D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83E9C2F-9223-40FE-9FF6-34841E640FD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AFCA-4943-AA4B-9818CF1C0054}"/>
                </c:ext>
              </c:extLst>
            </c:dLbl>
            <c:dLbl>
              <c:idx val="31"/>
              <c:tx>
                <c:rich>
                  <a:bodyPr/>
                  <a:lstStyle/>
                  <a:p>
                    <a:fld id="{588AA168-CFF5-4A7B-B586-0C442677E9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923F7070-282B-499D-A201-F02737633C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8FC0C523-DFFA-47DC-A002-00E189D096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AFCA-4943-AA4B-9818CF1C0054}"/>
                </c:ext>
              </c:extLst>
            </c:dLbl>
            <c:dLbl>
              <c:idx val="37"/>
              <c:tx>
                <c:rich>
                  <a:bodyPr/>
                  <a:lstStyle/>
                  <a:p>
                    <a:fld id="{09F03843-83CE-40D5-9F27-5A4656FEA5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17901949-2EEB-4FFF-9983-F1D2512557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AFCA-4943-AA4B-9818CF1C0054}"/>
                </c:ext>
              </c:extLst>
            </c:dLbl>
            <c:dLbl>
              <c:idx val="39"/>
              <c:tx>
                <c:rich>
                  <a:bodyPr/>
                  <a:lstStyle/>
                  <a:p>
                    <a:fld id="{C24B7098-FC97-4608-9047-71BEDA2685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EFEEFB92-DE01-434E-B34F-40BFF557B8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8F657154-5D32-47BC-AE27-B91D307ED57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343F344B-977C-4AB0-946E-29CCBAF286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E755AA4D-B27B-4007-AB65-F8EE10B513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2A967CA5-F760-4DE1-BCA7-0CBD5096CC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C8C66B27-F77B-4B7C-BE3F-F989A8EC29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7ECAC4"/>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7264780-CC83-4C6B-A358-A3B813F50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0C6A843D-D5E1-4D1E-B91F-E4FBBDC75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CC6CC05E-0D7D-46E2-8AE1-638246492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C0D36283-BDD9-49F4-80CF-D3B1D02B8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485EAEA3-3FB3-4934-A803-1A3762343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5B963B29-5E02-4AE4-9E68-2F8222C44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F5422810-3552-4681-A7AD-60F8A5DB1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8FF0A91C-317C-4409-B006-0F3808234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CA96648C-FD9B-424A-8162-E76ABBFF6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5C9CD950-3402-4958-90C6-EF0D984DE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CC90B738-EBF8-46AC-9A60-F60E3DAD8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510E887F-7864-4C18-9FDC-02FC09645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87B2A665-185C-42B0-BC7D-28C3B4DE3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B484487C-CAC4-4A5D-95D7-2C5CDAAE6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944BA937-9949-4998-BA7A-6205306FB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610139C8-2374-4205-BBB2-8B9134121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4B4B1986-2C25-467A-8C55-EBDA6829A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DE36416-CAD1-4F6D-B9D1-4671B6913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0C4A722E-E0EE-4562-9008-99029021E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FAFAA5DF-30EC-422E-BFEE-08F96BA4B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0E860EEE-F603-4BB1-9CF3-26C9AFA3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2033799E-6176-4CB5-A712-7252BC3BC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BBA73CB3-AA24-48E6-B072-59820249D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CB204364-2250-417F-8720-14A16F479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E9BE5B3A-C063-4045-B57B-85B534D25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7F7A4DB9-4CAD-49FB-B91A-F22DC1A69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C5D40DC-AF70-48BD-BA0C-82B6FD56A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1295C2C2-3BB3-4987-AD66-3EF8D02D7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4A4F6DC0-9A13-4D4C-99BC-078367441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8D5DB24F-1E98-4000-91B8-558262D3F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EB3ED3CA-1CBA-4A1F-B64F-3E6499D00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B0C7FB12-0454-43D6-8573-FCEEB7B8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15BA32E1-E022-447A-ACB9-7C75552B1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65C7A9C8-37C0-46E0-B63C-ACB838A10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224DCC24-F905-46C3-ACB3-20B16824C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A96DDB73-5A93-437B-AE36-2F88646EA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14C5595B-BE1D-4AC3-BA73-5B6196F7A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9BE76244-4C42-4375-87F5-B939B54E7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F3E7A030-F8D3-4303-AB9E-E34150BA7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A1030C0C-CB02-4E43-B7A6-BCC1156D3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D163CBE0-6871-406F-8D99-C697BCF35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F9C67329-0532-43C4-B95F-A504FB5BF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4B88DCEC-2880-41FA-A327-26216815B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40284F37-A53B-4E71-BC77-217C9F1F7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0D1EA38B-C886-4CD0-8F95-67902812D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420FBEB6-D1DF-434D-AE10-5D881C74E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480D5FD1-A2BF-4CCC-A2DC-4C5CF3845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933692CD-54D3-4D38-BF90-655132C6A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3A510C41-CFA6-4D41-B2E7-11DF5AB84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4F93419D-F6B6-40BA-892F-4E88EBB67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76CC541E-78A7-4F03-A11D-AFFB71C44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E0824E2C-AD61-4AFE-8B1F-836E45C21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5EC4F03C-601A-4B4E-837D-A9498D6D1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1C65E49B-4F0E-445F-93E1-4080EFAF7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A71F9065-3F9A-482B-8224-5DCDD561C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F916149A-9512-48DC-A113-0FC5D695B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124BF77D-9F2C-499C-BE31-82B70D3F5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0F8F7E87-71B5-4643-A68F-5F31D97F8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04901925-D48A-49CA-BE2F-C25B7FB7E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AA1C3969-E5C2-4953-BED4-03BEA533E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42FA0BDC-90BB-406F-B142-9D3179556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0C7F12E8-929B-45AF-80E8-04CC7AFB7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B87A0919-8083-4C8E-9079-AD82F2338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D0E8FA11-2AF8-4A39-A1EF-5B8193204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C16FB375-CE21-41A8-9770-17F4E7A03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9647874E-8651-4CFD-9390-FECC5A647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877835A5-4BF7-4F4E-9018-5AA351A2D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8429BA8F-F3E2-4305-ADC9-7E57BE354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BBD61059-15AF-4BE3-9E62-DA89E1E2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4DA8A684-FF3D-473D-A12F-2BB1C828F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9FE95E79-D475-40BF-8F6B-61D5778F5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20CF9DBB-2D83-44C5-BEE6-7FC16F7AE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342664B2-B1E7-4DF5-9FFE-02F85AEC7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648A3B99-BD5B-4811-AEB9-84E25F8CA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4FF48997-2676-48CC-9759-B0F190830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30A47FB9-5931-485E-98EB-6484E064C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566DD7EC-898B-4E0A-BB7F-F59653329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3A2AE2A9-C2F7-4D0F-B17F-A718B38D7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86E4CBF9-A1EF-4D3A-9469-AF77E3C53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48C168AC-69FC-40D8-9605-E33CAA4D6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D2678051-5632-4CF4-A398-06CE7F414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55DCB56F-4DFD-43D1-AB83-EF10FFD13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83F56478-DFD3-406C-9EE4-A95D11E71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8005DD23-C9C2-4275-9C3C-92642FA13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668CBD6D-111E-4AF0-9D5A-057A9A877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78E2CA06-559E-4059-A7AE-D8D5FFAEA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2D074B29-0C71-412C-9B76-FBFB1F0C9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83916934-2928-455F-BE78-43E19B79C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547CC37D-BC3B-4F44-9DD7-6FCB9CACB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047AE290-61B5-44A8-9DE8-1A73C885A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0250B762-675E-4D9C-9972-E53FDFEF3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F421C877-1B95-49ED-A648-062A57DE7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FC90D0D5-F2B4-4128-8858-D35A2369A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F314657C-F56E-4387-A0C1-2E7F68FB3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FD324AD4-B062-4B5E-81B4-8828801AB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5100D112-04AF-4103-B9E7-927B61B67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A0744175-A03B-4A74-B0A6-C3BCC269C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9557783F-2853-45CE-AD30-D0377806F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0E1288E5-1AF3-4C1A-9465-F776FD490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AF22C540-E22A-4A77-BEE0-07E2A3561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6A39C162-4A31-4FCB-B1AA-2BD244106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6960E98A-B758-4E55-BC73-914D1918E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2E86EA3D-BE37-4874-98AB-2CBE25B4F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9D8D0B2C-A059-4035-B17C-165B9A13B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C48A22FE-F528-4277-9996-14AC35D58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5F42419F-C885-46CA-9EB5-5D02C5BCC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601082F8-F963-4CA1-9ACA-2F6D6E2E9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2AA5E74A-467F-4194-85FD-6E02E133E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DB039BBB-B423-4D9F-A2A2-967661AC9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E2257391-87EE-4036-8D20-5DD0EC6CA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38CC3418-8F28-4F38-8677-EC6018A49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C2BDF5A4-C8E9-486F-9227-BDEC43815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EAABC3F0-78AA-44A1-8C9F-1FB6524A8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42DAA262-792D-44EE-B433-ADED034F1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97986985-58E8-479C-B336-04E819B4C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80B51702-7A57-4F3F-A7A4-F3AC0952D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63428580415</c:v>
                </c:pt>
                <c:pt idx="1">
                  <c:v>0.53171493485300692</c:v>
                </c:pt>
                <c:pt idx="2">
                  <c:v>0.1834971672284611</c:v>
                </c:pt>
                <c:pt idx="3">
                  <c:v>0</c:v>
                </c:pt>
                <c:pt idx="4">
                  <c:v>0.31549780780224967</c:v>
                </c:pt>
                <c:pt idx="5">
                  <c:v>-1.7224132063395691E-2</c:v>
                </c:pt>
                <c:pt idx="6">
                  <c:v>0</c:v>
                </c:pt>
                <c:pt idx="7">
                  <c:v>9.1688710957997632E-2</c:v>
                </c:pt>
                <c:pt idx="8">
                  <c:v>0.1008775144845046</c:v>
                </c:pt>
                <c:pt idx="9">
                  <c:v>-8.5369613682766091E-2</c:v>
                </c:pt>
              </c:numCache>
            </c:numRef>
          </c:yVal>
          <c:bubbleSize>
            <c:numRef>
              <c:f>Sheet1!$C$2:$C$11</c:f>
              <c:numCache>
                <c:formatCode>General</c:formatCode>
                <c:ptCount val="10"/>
                <c:pt idx="0">
                  <c:v>46417119</c:v>
                </c:pt>
                <c:pt idx="1">
                  <c:v>892564</c:v>
                </c:pt>
                <c:pt idx="2">
                  <c:v>10301310</c:v>
                </c:pt>
                <c:pt idx="3">
                  <c:v>423084</c:v>
                </c:pt>
                <c:pt idx="4">
                  <c:v>2887750</c:v>
                </c:pt>
                <c:pt idx="5">
                  <c:v>1929113</c:v>
                </c:pt>
                <c:pt idx="6">
                  <c:v>9544</c:v>
                </c:pt>
                <c:pt idx="7">
                  <c:v>773970</c:v>
                </c:pt>
                <c:pt idx="8">
                  <c:v>4032718</c:v>
                </c:pt>
                <c:pt idx="9">
                  <c:v>330412</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Dollar Shave Club</c:v>
                  </c:pt>
                  <c:pt idx="6">
                    <c:v>Van Der Hagen</c:v>
                  </c:pt>
                  <c:pt idx="7">
                    <c:v>Comfort 3</c:v>
                  </c:pt>
                  <c:pt idx="8">
                    <c:v>Schick</c:v>
                  </c:pt>
                  <c:pt idx="9">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58685A93-1FE9-41BF-A27C-48AE7CFCD9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543C111D-1596-4E76-8F5C-DF19369EB8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8E98967D-6EF6-46F7-8C7B-3DE69CDB86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CE875341-9DC1-408B-82FF-98A5984B00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8A53D615-4CA6-4C49-BD9B-70AC5778DE6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14450BA5-CEC0-4510-94FE-0B7468359E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23A0E436-B4DA-4C65-A09D-603598C019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92A757BE-BC4D-43C8-BC3E-97A4A5A51E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6CD1E2C9-5829-4FF7-94EF-D19357E53A8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E1CF1E5E-737A-4855-A76F-AD12E0BA05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481F7B1B-3616-42B3-9DC3-F3A834C6F6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B755C466-4C64-40F0-8A32-CC1CF96811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EFF68ED7-847B-4295-BA20-1C623AE1B1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1F094EE7-91BD-497A-802A-38B12C67ED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E08294F9-EBBE-47D8-825A-64D2700ABE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91E8A800-0359-4D5B-8C83-76F4293221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7AA23C6F-8EF6-4DA7-8332-4901E70045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AA10CFA0-214A-4439-99EB-23455D0EE06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189E24F0-140E-4D3B-89CE-9582D21813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E7C68F2B-13F2-4481-9E5E-ADEEDD4289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269BC991-CEA2-40B9-9B80-2804D7F652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45DE03A9-F133-404D-A18B-007F2758A9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2043E4C-1972-45BD-B20F-09E1BFC0F5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A278904-8980-4F97-BB25-92118F1F3C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7C555AF0-241A-42BE-9B3E-C51DAACBCE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9ED4D6FF-9861-420E-8F16-A2C9713BFD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93252824-229E-42CE-9E1B-B45D922E75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2EE95FBE-32A3-4108-9977-06D8A6D3FA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2D37D6C9-EFEA-4848-8DB2-5512777C9B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568FBBDE-AC94-4721-AF70-B9EFD05ECD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9BCD3830-7EAB-43E8-90F4-BFDD9258EC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6B90D4EF-C68F-468F-8BB8-1D38810F84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EAA8CDE-0860-4D7D-9216-6B0C6DD9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A43EDF67-913F-4F2E-8BE4-E3A2881E7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A107FAC-EBC0-4890-9CBE-B3F0493D7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979916B1-E08B-4D77-A904-BD2B5EEE2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65329FA4-19CE-4F5F-A9EC-6315C72DB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0777DA15-108E-417E-B283-503EAC202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AC79965-7CD1-4F3B-A21F-3C7D5BED4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7CDFF339-EEF3-45AA-B972-C292AFE8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48EF-4B2C-A45E-07CB64A14B3B}"/>
                </c:ext>
              </c:extLst>
            </c:dLbl>
            <c:dLbl>
              <c:idx val="12"/>
              <c:tx>
                <c:rich>
                  <a:bodyPr/>
                  <a:lstStyle/>
                  <a:p>
                    <a:fld id="{8CA99EA7-23D4-42D5-91E3-2453E9A37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5F254BEB-D4ED-43CE-8012-01C887C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48EF-4B2C-A45E-07CB64A14B3B}"/>
                </c:ext>
              </c:extLst>
            </c:dLbl>
            <c:dLbl>
              <c:idx val="15"/>
              <c:tx>
                <c:rich>
                  <a:bodyPr/>
                  <a:lstStyle/>
                  <a:p>
                    <a:fld id="{E05A8D47-948E-4EAF-AD68-34517C6E7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4DF96B97-2941-4BA1-A70A-24411D7A5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48EF-4B2C-A45E-07CB64A14B3B}"/>
                </c:ext>
              </c:extLst>
            </c:dLbl>
            <c:dLbl>
              <c:idx val="18"/>
              <c:tx>
                <c:rich>
                  <a:bodyPr/>
                  <a:lstStyle/>
                  <a:p>
                    <a:fld id="{2344AE27-6BB8-4971-98EF-4503BC4B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4CFE03C3-B060-4D8E-9559-439EE88D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2EB1AC6E-3740-4F28-9879-77A47A22C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24F1A37-C376-458F-B8E3-A1744EC19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6033E379-1E78-4CD0-A00E-3D5FF4AA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4518CBF7-9616-4EC2-8912-8C673901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48EF-4B2C-A45E-07CB64A14B3B}"/>
                </c:ext>
              </c:extLst>
            </c:dLbl>
            <c:dLbl>
              <c:idx val="26"/>
              <c:tx>
                <c:rich>
                  <a:bodyPr/>
                  <a:lstStyle/>
                  <a:p>
                    <a:fld id="{D377E937-B99C-4666-A62F-CCF9433F0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F7F8EF-F58E-4413-94DA-64F21F86C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A4BC58AE-7E48-40E8-8521-4E63104F5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F373058B-174C-49C3-9F7B-0FC255F62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F6017106-9EC9-425E-B7F2-B9E37E587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BFFF46F5-FD94-432B-B048-920B743B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3A7D4E7-C98D-47F1-BE84-C005E62E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2BA89993-A1C7-48A6-8235-57EF59B16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59C62FD6-9D17-44EB-954E-ADA0CB797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C6845B4C-674E-4483-8BF5-222D2BD8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48EF-4B2C-A45E-07CB64A14B3B}"/>
                </c:ext>
              </c:extLst>
            </c:dLbl>
            <c:dLbl>
              <c:idx val="44"/>
              <c:tx>
                <c:rich>
                  <a:bodyPr/>
                  <a:lstStyle/>
                  <a:p>
                    <a:fld id="{C6A7E99E-2014-4B15-B6C4-5E8D30B02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0F7E90B2-B303-468C-BCA9-F4CAFEE89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8EF-4B2C-A45E-07CB64A14B3B}"/>
                </c:ext>
              </c:extLst>
            </c:dLbl>
            <c:dLbl>
              <c:idx val="46"/>
              <c:tx>
                <c:rich>
                  <a:bodyPr/>
                  <a:lstStyle/>
                  <a:p>
                    <a:fld id="{38711D06-C3E3-43F8-A46D-616F77B1B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D099864E-01AD-40A8-AD4C-87B91ED78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C516F129-A3F1-4959-8C36-696E5F1F6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48EF-4B2C-A45E-07CB64A14B3B}"/>
                </c:ext>
              </c:extLst>
            </c:dLbl>
            <c:dLbl>
              <c:idx val="51"/>
              <c:tx>
                <c:rich>
                  <a:bodyPr/>
                  <a:lstStyle/>
                  <a:p>
                    <a:fld id="{1EE7D7AD-8383-475B-A93B-4B3C1692E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5.2367654503356877E-2</c:v>
                </c:pt>
                <c:pt idx="38">
                  <c:v>1.831419028039069</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5.239374289059192E-2</c:v>
                </c:pt>
                <c:pt idx="38">
                  <c:v>1.831419028039069</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6">
                  <c:v>1</c:v>
                </c:pt>
                <c:pt idx="37">
                  <c:v>1</c:v>
                </c:pt>
                <c:pt idx="38">
                  <c:v>1</c:v>
                </c:pt>
                <c:pt idx="39">
                  <c:v>1</c:v>
                </c:pt>
                <c:pt idx="40">
                  <c:v>1</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6">
                  <c:v>0.27296962627611887</c:v>
                </c:pt>
                <c:pt idx="37">
                  <c:v>0.17453825430309394</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F997C32-2B90-45F5-BC3F-20EA736BA3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84ACB84-8D43-4586-9011-726155886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E36B7852-A363-4A97-B90B-BEECAC4130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C1246EE7-FB05-4659-9B25-01B135C443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58E648D-8E9B-4956-A076-44F2A7B7BF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9EEFC47F-8E14-45A8-9405-568C40CF87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FFB9A23C-9464-4330-9119-421E1FB55C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315C4D06-1C24-494B-9E09-585F78B60A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27CF11B2-B552-41E1-BD6D-83CA50FFBA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1BB68B22-B0C0-4006-9056-3748007DE7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1E210589-64EA-4E14-8543-7ECEEEB29C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F9C56E2-12F4-4650-B22C-BF3EB2E49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BAD240B-0E21-4A54-83B4-CAAE71F63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E20DF19E-09E5-4F33-9097-381B4A54A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2CB93E37-BC38-49DD-A172-238742092F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9F39EEBA-E9DF-46A5-B156-CB3D6EBF23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1522-4FFF-9E56-9731F6C7602B}"/>
                </c:ext>
              </c:extLst>
            </c:dLbl>
            <c:dLbl>
              <c:idx val="25"/>
              <c:tx>
                <c:rich>
                  <a:bodyPr/>
                  <a:lstStyle/>
                  <a:p>
                    <a:fld id="{2CF767F5-A2B9-4DD8-8AC1-CC88E69263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CA2C7463-43F4-45A8-A092-49A7D02688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EE4F7404-3338-4CE3-9084-8638192E96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8C8B36C-705D-49CF-9020-EC3982BD76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1522-4FFF-9E56-9731F6C7602B}"/>
                </c:ext>
              </c:extLst>
            </c:dLbl>
            <c:dLbl>
              <c:idx val="31"/>
              <c:tx>
                <c:rich>
                  <a:bodyPr/>
                  <a:lstStyle/>
                  <a:p>
                    <a:fld id="{9856B1A0-5D4B-4483-AE0C-3E53AEC33A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1DAA4643-A863-477E-A732-CD6A76DDC3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80913A4-7758-4487-BA12-D75CA6BD45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1522-4FFF-9E56-9731F6C7602B}"/>
                </c:ext>
              </c:extLst>
            </c:dLbl>
            <c:dLbl>
              <c:idx val="37"/>
              <c:tx>
                <c:rich>
                  <a:bodyPr/>
                  <a:lstStyle/>
                  <a:p>
                    <a:fld id="{5D5099B3-7842-4777-B263-9B6FBB6BF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BD014E2B-086B-417A-A073-71D298B184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1522-4FFF-9E56-9731F6C7602B}"/>
                </c:ext>
              </c:extLst>
            </c:dLbl>
            <c:dLbl>
              <c:idx val="39"/>
              <c:tx>
                <c:rich>
                  <a:bodyPr/>
                  <a:lstStyle/>
                  <a:p>
                    <a:fld id="{3D1AFAD4-8986-47B8-B730-A23BEB9C0C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1522-4FFF-9E56-9731F6C7602B}"/>
                </c:ext>
              </c:extLst>
            </c:dLbl>
            <c:dLbl>
              <c:idx val="43"/>
              <c:tx>
                <c:rich>
                  <a:bodyPr/>
                  <a:lstStyle/>
                  <a:p>
                    <a:fld id="{06D5F968-1ECD-4DCA-AC93-2691AA9682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570DB4B-5BD3-4FFB-B097-FE1D5A138A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67C4F701-C031-46D1-9BF0-7524FED46D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1522-4FFF-9E56-9731F6C7602B}"/>
                </c:ext>
              </c:extLst>
            </c:dLbl>
            <c:dLbl>
              <c:idx val="49"/>
              <c:tx>
                <c:rich>
                  <a:bodyPr/>
                  <a:lstStyle/>
                  <a:p>
                    <a:fld id="{A42934A4-4AC2-4CB7-94D0-9439F9581D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C5A7D7FA-C8BC-4DAF-B538-5C2441CCB3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71DEE16B-83D6-461E-A6B3-6E802E281F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5">
                  <c:v>1</c:v>
                </c:pt>
                <c:pt idx="6">
                  <c:v>1</c:v>
                </c:pt>
                <c:pt idx="7">
                  <c:v>1</c:v>
                </c:pt>
                <c:pt idx="10">
                  <c:v>1</c:v>
                </c:pt>
                <c:pt idx="11">
                  <c:v>1</c:v>
                </c:pt>
                <c:pt idx="12">
                  <c:v>1</c:v>
                </c:pt>
                <c:pt idx="13">
                  <c:v>1</c:v>
                </c:pt>
                <c:pt idx="14">
                  <c:v>1</c:v>
                </c:pt>
                <c:pt idx="15">
                  <c:v>1</c:v>
                </c:pt>
                <c:pt idx="16">
                  <c:v>1</c:v>
                </c:pt>
                <c:pt idx="17">
                  <c:v>1</c:v>
                </c:pt>
                <c:pt idx="18">
                  <c:v>1</c:v>
                </c:pt>
                <c:pt idx="25">
                  <c:v>1</c:v>
                </c:pt>
                <c:pt idx="26">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7A9765B-DE49-4D4E-8A9D-AB7FEA428B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0AF523B0-4572-4C2A-A1ED-CB9F9D516D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065F0049-10CC-421E-A648-8B77B59697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F0EF904-E9FC-4020-ACE1-725A8D94D3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F9EFDBD2-B033-4168-B241-5D3B095DA1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524BB025-9335-403E-8E4E-811C79A8DE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D9D5D3CD-A894-4E40-A39A-9ADCB97684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284323BA-8B40-423D-9F6A-DE58971558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B6BC485E-9277-4C0A-97A4-EB5B988ACE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ADF2BA13-8F15-4BE4-812E-56DE3A8C69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2E6152AB-2ECD-4B43-83F5-D703B64D31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084A2F0-0709-44FE-95B0-EC8057473A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9E365054-DF27-4A73-8B69-B1DEB532B8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77EAB735-9B8C-4433-BF64-5C0AABE889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C801547D-8F3E-4F92-B1AE-A797059D23F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DB5D6EEF-DC08-4FBE-AE8F-E9A40F43C4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4C12A4B8-C398-4C05-8074-A4D91B5487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5A5182B9-2F65-4F8B-AFC9-9EF039CD47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A214BCD-7C6A-46E8-94CE-B6B0B343D1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0EF49A0E-B094-4ECB-B0FE-2142E5797E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B571E626-80AE-4395-A8E1-42EEE6FA43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55D6ABB-8783-475E-8BA7-26A6A5674D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1554D22E-4D7B-4E15-A06D-96B79757E4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17C64132-B4E4-4D11-BDC4-1C664B7BE3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6FB45B35-52B8-4E77-A985-5439408567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B285548-D805-420B-B7E9-35322EEF7E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0421CDA7-39EA-41A7-B93B-BF95A0BD82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FE342A75-90E8-4271-8034-AA917B6340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2258AB6E-06E2-4758-8C86-0959E535528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94ECE41C-7611-4E15-A23D-B5764D7DF5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C49B5225-8098-4560-89E4-46C22CDDD1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20F2B817-E422-4503-883B-D73B3FB0D7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4927331-8210-419D-B37C-55469C7E3F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567601DF-A6F6-4104-A9CB-0D6666FDDCF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3E01655D-CA1A-41B0-A2CB-B0F401E8B5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D3EFFF15-4224-4A8D-A14F-A3D72057CD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9984D549-1852-4661-A864-A324BB9C756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8554722-CA6A-4059-AD6E-0695586E02F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11A69635-6B02-4730-A540-EB644DF9B9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9284BABB-F280-4851-A87F-82FA6C43A93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6F3F-4891-A588-66FCA4279EF0}"/>
                </c:ext>
              </c:extLst>
            </c:dLbl>
            <c:dLbl>
              <c:idx val="12"/>
              <c:tx>
                <c:rich>
                  <a:bodyPr/>
                  <a:lstStyle/>
                  <a:p>
                    <a:fld id="{FAD833F8-25F5-4A63-AE33-E8519037EB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CDC413DC-F289-4CB3-9036-CBA4D5D4F3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F3F-4891-A588-66FCA4279EF0}"/>
                </c:ext>
              </c:extLst>
            </c:dLbl>
            <c:dLbl>
              <c:idx val="15"/>
              <c:tx>
                <c:rich>
                  <a:bodyPr/>
                  <a:lstStyle/>
                  <a:p>
                    <a:fld id="{DB80B546-DA67-47D9-9A9D-722F1C120F0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BF59B6B2-D09D-4D86-8356-55B30AAB540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F3F-4891-A588-66FCA4279EF0}"/>
                </c:ext>
              </c:extLst>
            </c:dLbl>
            <c:dLbl>
              <c:idx val="18"/>
              <c:tx>
                <c:rich>
                  <a:bodyPr/>
                  <a:lstStyle/>
                  <a:p>
                    <a:fld id="{0A4C2DD7-3F52-401A-BABB-0944F1D833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E470DFCC-CC5C-4720-8B11-F45AD8DB91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1BE784EC-9727-40E5-8630-433C5DE547F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FDCC3B69-0633-4830-A6BD-E14FC8498CD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FFCA29EC-CD41-49C0-8D20-C1CF42EB0E1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29A23ABB-DAED-4E55-A374-CC40EC98537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A24B552A-F382-47CC-AC87-2E0BD2B555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BA35FEFB-3667-4165-BAA5-852A11D0C4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FE3F6E5A-D4DC-477E-B994-EAFA60D8CE7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F3F-4891-A588-66FCA4279EF0}"/>
                </c:ext>
              </c:extLst>
            </c:dLbl>
            <c:dLbl>
              <c:idx val="33"/>
              <c:tx>
                <c:rich>
                  <a:bodyPr/>
                  <a:lstStyle/>
                  <a:p>
                    <a:fld id="{F91EACEE-2958-49C8-AEF9-0D0AC5EF9AA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F0C21F90-E208-46DE-BC86-BF220D2EE9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55E48BA-F2DB-4CE3-A8C2-7785F5EE71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C684EECF-149C-48A0-8E41-EE3BA78620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1B260312-D83B-4ACB-935C-A93BCD2A7B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F3F-4891-A588-66FCA4279EF0}"/>
                </c:ext>
              </c:extLst>
            </c:dLbl>
            <c:dLbl>
              <c:idx val="40"/>
              <c:tx>
                <c:rich>
                  <a:bodyPr/>
                  <a:lstStyle/>
                  <a:p>
                    <a:fld id="{9275B400-20F0-4EAA-A442-E04A14E4648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52BDC1DA-65BF-4E97-9B0F-ECF9D61467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24DB7049-20BB-498C-B342-F086B1F53F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7EDC5F2D-64A2-4B6E-A916-371C43E30F8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6F3F-4891-A588-66FCA4279EF0}"/>
                </c:ext>
              </c:extLst>
            </c:dLbl>
            <c:dLbl>
              <c:idx val="46"/>
              <c:tx>
                <c:rich>
                  <a:bodyPr/>
                  <a:lstStyle/>
                  <a:p>
                    <a:fld id="{9B651D76-5E1D-40F7-8A19-9DB1B366D4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463C011F-0DF4-4268-85A1-AB2E69A8B6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3E0968FC-0268-40AA-808A-F2F207EE188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63004D5C-3364-4224-9AB1-C3C93D6D5C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605F-4AE5-B5B6-B910EE4C7F04}"/>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05F-4AE5-B5B6-B910EE4C7F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DE6E-4990-87D9-F06D41FF931A}"/>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E6E-4990-87D9-F06D41FF93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392C2EEF-EAEA-49A3-AFC5-F06690E3F4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224FB2B2-6507-44B6-ADAD-3B457FE6BD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28BF1D5C-36CE-4EB0-AD28-F4825991542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B746766A-B7AC-4EEC-83B3-E78B12FB37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13B403B7-F2CD-4543-A622-688DA2D764A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6A9D2CD7-4818-4CCA-ACCC-BC693C5253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B9DBA80D-7A7F-4B3E-8D03-921295D9AB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65654DF-EC24-4DD8-B3F7-8D4BDC8AC6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FF91E436-B367-4EA9-9780-26700CF899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F2BDBDDE-69A2-4546-8204-7ED391ED28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AFCA-4943-AA4B-9818CF1C0054}"/>
                </c:ext>
              </c:extLst>
            </c:dLbl>
            <c:dLbl>
              <c:idx val="13"/>
              <c:tx>
                <c:rich>
                  <a:bodyPr/>
                  <a:lstStyle/>
                  <a:p>
                    <a:fld id="{37B7B4DD-79CE-4877-861C-45AE1E8EB1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33CB8B4E-E8B8-41E1-85CE-CCF39F1818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42206F57-6DC1-4D73-A68B-5042C27E1F3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AFCA-4943-AA4B-9818CF1C0054}"/>
                </c:ext>
              </c:extLst>
            </c:dLbl>
            <c:dLbl>
              <c:idx val="19"/>
              <c:tx>
                <c:rich>
                  <a:bodyPr/>
                  <a:lstStyle/>
                  <a:p>
                    <a:fld id="{09D578ED-D01B-493F-B1FD-9DC31F6046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E238C22F-C03A-46FD-918D-3996C7861F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7DD18F05-741F-45AF-90AB-2AA9D49E82C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AFCA-4943-AA4B-9818CF1C0054}"/>
                </c:ext>
              </c:extLst>
            </c:dLbl>
            <c:dLbl>
              <c:idx val="25"/>
              <c:tx>
                <c:rich>
                  <a:bodyPr/>
                  <a:lstStyle/>
                  <a:p>
                    <a:fld id="{6E82E8F9-E92C-4B76-A236-651E217DEA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125B6EE9-1CDB-4F3A-945A-D8B5F19F15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C2EE411E-C325-4224-8F5F-F3D32D7F25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BE78A0D3-8016-46AF-A63F-E07A874610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AFCA-4943-AA4B-9818CF1C0054}"/>
                </c:ext>
              </c:extLst>
            </c:dLbl>
            <c:dLbl>
              <c:idx val="31"/>
              <c:tx>
                <c:rich>
                  <a:bodyPr/>
                  <a:lstStyle/>
                  <a:p>
                    <a:fld id="{95F194E9-719E-41F7-9FF2-A1A020F72E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1476AF14-F6DE-4FF6-9499-105DAD8EA4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ADB8ACAD-5F3F-484D-8710-65565F5AA8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AFCA-4943-AA4B-9818CF1C0054}"/>
                </c:ext>
              </c:extLst>
            </c:dLbl>
            <c:dLbl>
              <c:idx val="37"/>
              <c:tx>
                <c:rich>
                  <a:bodyPr/>
                  <a:lstStyle/>
                  <a:p>
                    <a:fld id="{A965B768-6650-47C3-AC8A-0646FDEB4D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BE1F37CE-A1AF-4DFB-BC5C-40F05EF257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AFCA-4943-AA4B-9818CF1C0054}"/>
                </c:ext>
              </c:extLst>
            </c:dLbl>
            <c:dLbl>
              <c:idx val="39"/>
              <c:tx>
                <c:rich>
                  <a:bodyPr/>
                  <a:lstStyle/>
                  <a:p>
                    <a:fld id="{F9855D50-0CCE-41F8-82BC-FA5815BB7E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4350BF67-8303-4DA5-B7BE-9F7AACB50F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D5CFE62-158C-4D25-BA8C-0CE0AE36B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E96AC004-F8DD-4318-ACA0-17DDC691EC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59FC04AF-DBB3-4E5E-940C-6DEAD7A50A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7DEF9D1A-F9F7-457A-A19E-D1AF0ADA38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B3F215BD-D84F-4A99-B3E9-239A111CA0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09E5C8F8-3EF1-467F-A9F9-1CCB8489D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32051449-97CD-4228-9EB2-094F49BA8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BBE1928-69EC-4EE5-BC99-ECF84032E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D992739-F7C8-404E-9884-D5BC2AB65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F9E7D2F-C1EC-4716-8BD9-79DCE783E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9AC8EF0E-807D-48C0-ABBE-7B7E57B07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28B24BA8-5526-4182-A64B-EE84A7BA2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2E711FCD-7576-4E92-98D9-2D828AEDB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D1DBF317-B2B4-484F-B681-B10C60E3F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247F082B-5240-41DD-8DC2-4C5B1AB34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AECAD46D-DA8D-4D57-80DE-CA85D7D24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995780F8-669F-4CB6-8CDC-B91D84DCB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150ACA02-2DDB-4C76-808D-6F8EC0B7A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15556575-D923-4B0D-9435-8247EED67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BC651DDA-DB2D-4461-A41D-1B141FED8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D0E6726F-3F43-45F4-AD76-4656A1369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9C096F33-71D1-42D5-B2AA-70CDDFB01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7DA85509-A81D-460D-9968-091F44DA1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F29D2271-93FC-44BC-8FBA-6EEE1B84E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35A64601-6024-439A-84CE-63025EAD8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93DBA090-5274-4311-9352-34633FA26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7F0A4574-C489-4450-8019-41C5876A8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BF4B07F-E20F-4D28-BA4E-2901069F8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75A73F1D-F38F-40D2-9D79-75D4F8C94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AE3D6C2-3306-4E84-8384-D30553276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4AB31AA0-DD1E-4E48-87B2-2696DB89B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173C8A48-A4FA-4DC7-9331-9B6B67494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B0EEF9F1-F469-4475-8670-2A951F4EE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C8D7B458-5A63-49E9-A61B-0B8EE1666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934F8700-ED05-4FB4-8AE4-95CA00EF4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24575B7D-FAD7-4EDF-8C3F-46C028072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86650B71-6470-4E6E-8463-49D8BE529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A0E8D6C7-FED7-403C-BC82-34D981273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F254C5C0-38B2-4259-9B44-56DDE89FF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75889C05-6E50-4E10-B15D-BA94E433C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E5D320B0-B73E-4B28-9B3F-F8CD0C9D9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9C4BE6F-AAE4-466B-86FE-96D6E239F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1B91F335-C20E-4FCE-A7CD-9E0BE97D6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2B94D12D-EA4C-4799-8ABC-4F81E8B78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92AF152F-A071-44D0-8FFB-50AB57FDB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5030068C-A222-479F-AC36-92EAA599A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F3D17A48-127D-492B-977B-BB75C73D6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8294B623-40CE-4887-A2C4-EA8600130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382AFF8E-FBC5-4D05-95F3-B1B13F7FA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5A53B4D5-3126-46B0-85AB-E95340658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001A2071-F677-46CD-AA4E-0AFAF7694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A5F0E0A5-A296-4260-9685-3F54EAA7A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125EC5D2-A1B0-4632-ADA0-76165A6D3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7E45E3E9-EE80-47E8-AF7E-B2A94A57F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9A5F7634-2C99-4D70-AE47-03B527303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0A70CBC9-BBC9-48A0-9D9C-91A8510C2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F073CDF3-C429-4308-B323-B9FA76A02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1F647978-91F0-4B76-AE34-D30759A87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D51C3F4E-7A60-479B-ACF6-797092C08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70D8DF4A-2A78-4AF1-BE7D-30368854A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2D4DF7AE-A9A5-470B-9A2C-D3464EB70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CB35799A-FB32-4C3B-B617-41F479C1B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B674D9A2-6CAE-431F-9227-84BA2B87C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7E7A25EB-0B1E-4EF2-BA12-BFB20EDD3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B7D4DC6B-CE66-430E-92AC-BC1647BD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42FA398F-6841-4644-96AB-7B21894EE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B06B41E-43FB-4EF3-B025-A9F065782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269D6227-E198-4A0C-B866-B4F4CE540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17D4115F-988D-420F-B539-1274DA1DC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63EE26B6-B3AA-4423-BF63-324818ED3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1F1A5354-9F43-47D9-98C6-A0F827F59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2ED41F5A-C919-4E7B-AF81-40C1FA520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6A62F77A-292C-493E-ACCE-75087D0F0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57165B78-71A3-4109-A95D-0220A39AC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4597217E-F2DB-4B28-A76A-6E19DE96B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8B69210-77CF-46E0-BA87-422DD46DD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4A465EE9-D758-455B-8D45-7DD9548B8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01AD9963-356B-4E54-8D02-85495CC05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4266BDF1-4F88-4027-B374-2C9CDF7D1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F1972AE5-2DF3-4C2A-A3BF-B64F01A12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1929339C-FF03-4474-A1DB-BDF745F06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8DBD6E15-87E9-447F-A87D-4CD34AF1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84626DC7-AED8-48B6-821A-1AF3A9A94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E3CB22DF-6DEC-414E-8A95-E9F624746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D72974D7-2183-4DA0-A21E-F2A984CB3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8E06B266-6E01-40F3-AE59-6A60D659D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B4675F80-B881-4E09-9615-DD47A33D4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BC0BB791-517D-4132-86C8-EC714A185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8372B6D7-2CF7-40C7-A94A-2F419940F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E689ED6B-8F2A-4BC3-B5D7-0FC062F2E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D2300CB0-0604-4241-8D0C-B9D3B7558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03AAA7F6-3125-4608-B0D4-4A02DAA56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CE124ED4-A804-42F0-971C-680E88160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0DDDF5E1-85A5-41F4-82CB-6F02A020A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23C0789-C807-4C0B-B20D-B62122AB2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28929FAB-D644-4F98-ACAF-020CE0879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09D9E224-E890-49B6-A88C-E09959B84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F835985B-8878-48F2-A966-48EDB50E4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AA731E17-0481-4674-8800-920EF24FD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FF729349-151C-4B36-B3A6-C7F702469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A12E4422-A3F9-49DD-B08B-63C68F404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CFF087A1-D57F-4F53-BAF0-A225F6A72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46F498A4-8830-4746-9869-1488C2CB5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F822D40F-6855-4623-BFB7-1EF7F7CF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BCDB403B-54A3-4DA4-B0CF-7C45F15A0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99BC89F7-5BC9-455B-8112-C7F20BE16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6E00715D-0FF1-48C1-A911-0A8249B48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19096756-27E2-41E4-BB47-79BBFF7E9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2D623CAC-4D06-4FAE-898A-0E0145511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78730D22-64E9-4EBC-AEA2-E26CD5A3A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65C1B970-0E3D-4403-A7EA-048AF7509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E1DDF137-DB75-4B71-99DF-9CB0230AF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9EF63E02-733A-4461-831E-03075C5ED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31C90367-F598-49B9-A78E-F8DDE5359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CF325944-3280-4916-B102-DDAD533F9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68F5E013-9246-40AC-A7D8-FD49A47AE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8ADE135F-4138-4E71-A3A0-250E269BF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F660F3E1-0491-48AA-8DD3-0FA711626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C08C5961-194B-4ADD-86A2-B455BF161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01C600DA-40A0-4A53-B9DB-23FE47A24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8DAD48AA-1611-4625-B1AC-AD7490FDE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18282392852590251</c:v>
                </c:pt>
                <c:pt idx="2">
                  <c:v>0.2313459988554603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3BAF3010-D946-4F59-BFBA-F6B5DBCEEB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9BA6DF1B-B118-4D60-AAE3-695236F238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DDC0DEC0-B4A6-4ED3-9133-DC3C79F64C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2C964736-2DE4-4927-BF6B-A316C17B83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003DA6DF-D2E1-49CB-B739-F703614E51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70EF9BF4-9E7B-4DE1-B847-0C3211232B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1F6E9658-130C-43B5-9922-BE7BCDFEA2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E327C290-352E-4F89-8569-A3CE859F3A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7C052048-A7EB-4D8F-9C61-6199961CED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D1744DA-A233-42EB-9C49-F7DD2CAEC6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DA2C36F8-F8A6-4110-9633-75B2CF70F4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FC1F3A5C-8AA0-4E02-8E6F-FA5F03F2F9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7E7E5F0F-AC23-4DA8-9FAF-66460D68AD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55C4A7AA-E4A9-42F5-B9FE-7EA8D717AF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DB26CC1E-9469-4016-9B04-9F8E418822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DC0BF99E-4800-47F0-A706-07C58D7005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76342C08-E2D8-4ADE-9F46-36A9C91EDF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76B0457E-B203-468B-9494-CC9D9DE8B1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65EF7072-F8E2-45BB-B17B-E09571ED09C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4F82F0F1-CCB0-4D58-90AB-8D17802E11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E283EA04-A402-4695-8B5B-F482E7B428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EC68219B-2D4B-44B2-B659-89C05E32A4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90A783EF-0894-45CA-B00A-ED3DF047224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B686BCA-45B5-49F1-ABB8-1116C3862F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57F19BCE-3BAE-4F37-ABC7-3979BA62A54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B925F505-8A8D-4B8A-B2F3-0AEA604E55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FCCDE135-2D06-4288-999E-2EA4E6E418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F01F61AD-92BB-4659-A623-9FF7958D9A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4375E81B-0516-4247-937C-04FE136EFE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7A34603E-5212-4D58-8CE0-2801D4192B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6073CA5-F79C-4669-9500-7AE7DA6B40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0C584A37-1D35-4D1D-84B7-3B65C4655C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98AC64B5-75A9-427F-AD9F-048D55B2D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2DBBE188-7F6B-45A7-939F-169EA7EE9B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F224E463-D3E6-4530-A658-B4B762C288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701832B4-A1F9-44E7-8A25-D2F5743E40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7B6B85BB-2843-4AD5-9EE1-50E944E014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BECE9205-0F42-4975-A63E-0077F15E11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6653C725-A8F9-4EBD-8596-C5CC4369B06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BEE0081C-6445-46CB-B359-A40FBDA235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6F3F-4891-A588-66FCA4279EF0}"/>
                </c:ext>
              </c:extLst>
            </c:dLbl>
            <c:dLbl>
              <c:idx val="12"/>
              <c:tx>
                <c:rich>
                  <a:bodyPr/>
                  <a:lstStyle/>
                  <a:p>
                    <a:fld id="{B76E81EA-D9B7-4469-9B2A-650F12D104E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E04AFBE8-65C0-4F2B-91DC-C8E66234F1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F3F-4891-A588-66FCA4279EF0}"/>
                </c:ext>
              </c:extLst>
            </c:dLbl>
            <c:dLbl>
              <c:idx val="15"/>
              <c:tx>
                <c:rich>
                  <a:bodyPr/>
                  <a:lstStyle/>
                  <a:p>
                    <a:fld id="{55BCBE44-239A-490C-A0E6-0EDEAF0981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421CB4CB-B3C7-4074-9573-A50B4C3456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E9AB0BA9-7DEE-43DF-9C7A-837B6965A5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8FFCDD51-F805-440B-8B51-F65C437EE27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FED8466-4B3D-4BD6-987B-C3477C5BD3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C02DD486-D050-4C9F-9D08-39F914B9E6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9C7A6B9F-34C3-42ED-A24B-68525C8FA9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4E132DA1-7484-4EFE-8432-F9C603B1FC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306F207C-5385-4601-A723-B1FC3A8E2F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B1563FA4-C8C2-4C9F-B46A-6AEDDB8313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FF05720B-8DF4-4C71-AD93-09DF8FAD33A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6B61A363-52E5-4753-8447-5283450825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3BE75850-EE1D-414E-826B-C1205793535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EFD0667C-B44F-4F61-B00F-62DA282B16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CEC60770-4887-434E-BBEC-78BDAFC1C3E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D9EFD8B3-CFCA-4723-9AA7-A80496BB22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8F339B04-4033-45B8-B5F8-1529C195BFB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12F2FF17-FBEE-4037-A3E6-969D777FCD2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75AB8CE2-EB2D-41A4-90BF-69D32DA9A4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89D5E6F8-934C-4B79-871D-2AE055F2980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6F3F-4891-A588-66FCA4279EF0}"/>
                </c:ext>
              </c:extLst>
            </c:dLbl>
            <c:dLbl>
              <c:idx val="46"/>
              <c:tx>
                <c:rich>
                  <a:bodyPr/>
                  <a:lstStyle/>
                  <a:p>
                    <a:fld id="{E8F5DA3A-506E-4262-B20A-60541318C1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0778AFE6-20D6-4F0A-A7EF-0228C298C6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6BD8EAC6-98B9-49CE-8B7A-EDFB7B1AD1D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2C116CA8-72AE-4ADB-8C20-FC0454AA721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5">
                  <c:v>1</c:v>
                </c:pt>
                <c:pt idx="16">
                  <c:v>1</c:v>
                </c:pt>
                <c:pt idx="17">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CD09-4930-9A7E-0F84D160545A}"/>
              </c:ext>
            </c:extLst>
          </c:dPt>
          <c:dLbls>
            <c:dLbl>
              <c:idx val="38"/>
              <c:tx>
                <c:rich>
                  <a:bodyPr/>
                  <a:lstStyle/>
                  <a:p>
                    <a:r>
                      <a:rPr sz="800">
                        <a:solidFill>
                          <a:srgbClr val="00A097"/>
                        </a:solidFill>
                      </a:rPr>
                      <a:t>68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D09-4930-9A7E-0F84D16054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5">
                  <c:v>1</c:v>
                </c:pt>
                <c:pt idx="16">
                  <c:v>1</c:v>
                </c:pt>
                <c:pt idx="17">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BCAB-44EA-90FC-26E70DF69C83}"/>
              </c:ext>
            </c:extLst>
          </c:dPt>
          <c:dLbls>
            <c:dLbl>
              <c:idx val="38"/>
              <c:tx>
                <c:rich>
                  <a:bodyPr/>
                  <a:lstStyle/>
                  <a:p>
                    <a:r>
                      <a:rPr sz="800">
                        <a:solidFill>
                          <a:srgbClr val="00A097"/>
                        </a:solidFill>
                      </a:rPr>
                      <a:t>68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CAB-44EA-90FC-26E70DF69C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57AC2EDE-8B52-4DCB-9536-54206862B34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E051A1CF-8B01-49AA-8270-D7451E30B1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BD6A2BFC-C3E8-4CEC-A994-0259B77C7B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65DAA862-AD06-4111-A363-E5C7246478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D48FF16E-B755-49B1-A382-F643B4F563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E392CF51-6B06-438B-BC13-1BE44A02A5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2EBE8615-BB92-41A9-BD03-89B37D2455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5460DC9A-9C7A-451A-AA0E-09AEDBC7F3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30DE00D9-636D-43D4-8ABA-DFF805A0A3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230F72EC-FA9F-4A7C-8F81-0109CA8EE7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36141648-83C0-4329-B2E7-EDFDEF2B6D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D7AF735B-644F-4B41-B26E-09D8A34608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67D112F7-495E-401A-83B6-543515708F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17B2988B-07E1-4247-8612-5F6A9735D4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21007A83-AEC5-465B-87E1-A905C19D3F7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8FE0619A-D685-4462-A2B6-A6B68874F6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97EFB588-B796-4C7A-9540-39574A7D74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98126E62-A72B-4411-954C-5106C28058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6D7FA93B-477F-4D8A-BE33-7E9A53B225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D3818CAF-D472-4E33-9684-845C256C1B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AFCA-4943-AA4B-9818CF1C0054}"/>
                </c:ext>
              </c:extLst>
            </c:dLbl>
            <c:dLbl>
              <c:idx val="31"/>
              <c:tx>
                <c:rich>
                  <a:bodyPr/>
                  <a:lstStyle/>
                  <a:p>
                    <a:fld id="{0646832B-1F60-4AE3-8FBB-880FD6592B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28409F30-B04D-4AE2-A8D6-01D40AC9B99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1E91B754-24A4-48C6-B7BE-6F65BB30B21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AFCA-4943-AA4B-9818CF1C0054}"/>
                </c:ext>
              </c:extLst>
            </c:dLbl>
            <c:dLbl>
              <c:idx val="37"/>
              <c:tx>
                <c:rich>
                  <a:bodyPr/>
                  <a:lstStyle/>
                  <a:p>
                    <a:fld id="{6ECF5AE8-4033-4887-B098-CB833FDB1B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601462E7-A03D-49A0-B2D2-4DDBDFDD548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AFCA-4943-AA4B-9818CF1C0054}"/>
                </c:ext>
              </c:extLst>
            </c:dLbl>
            <c:dLbl>
              <c:idx val="39"/>
              <c:tx>
                <c:rich>
                  <a:bodyPr/>
                  <a:lstStyle/>
                  <a:p>
                    <a:fld id="{21F5DCAD-7748-4C6D-BD1E-33D112F369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E28F3389-3AC7-401D-B159-634E6DE0E3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28B3A722-AE44-45EF-8606-BC5D5FAB53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55C0B9CB-B1D4-4CA5-B674-ABD675C842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19D9DC70-7656-448D-853E-49D272E5BD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8DFEFE6D-3A9C-4446-B60E-77B8C52541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5DA093C7-AE67-4F89-9A2A-74139CA4C5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0">
                  <c:v>1</c:v>
                </c:pt>
                <c:pt idx="11">
                  <c:v>1</c:v>
                </c:pt>
                <c:pt idx="12">
                  <c:v>1</c:v>
                </c:pt>
                <c:pt idx="13">
                  <c:v>1</c:v>
                </c:pt>
                <c:pt idx="14">
                  <c:v>1</c:v>
                </c:pt>
                <c:pt idx="15">
                  <c:v>1</c:v>
                </c:pt>
                <c:pt idx="16">
                  <c:v>1</c:v>
                </c:pt>
                <c:pt idx="17">
                  <c:v>1</c:v>
                </c:pt>
                <c:pt idx="22">
                  <c:v>1</c:v>
                </c:pt>
                <c:pt idx="23">
                  <c:v>1</c:v>
                </c:pt>
                <c:pt idx="24">
                  <c:v>1</c:v>
                </c:pt>
                <c:pt idx="26">
                  <c:v>1</c:v>
                </c:pt>
                <c:pt idx="27">
                  <c:v>1</c:v>
                </c:pt>
                <c:pt idx="29">
                  <c:v>1</c:v>
                </c:pt>
                <c:pt idx="31">
                  <c:v>1</c:v>
                </c:pt>
                <c:pt idx="32">
                  <c:v>1</c:v>
                </c:pt>
                <c:pt idx="37">
                  <c:v>1</c:v>
                </c:pt>
                <c:pt idx="39">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31606925-21D6-4EA6-8D59-861938713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2FA6E8F7-A5A0-400D-B789-B96D765F0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3B6E805D-E149-4D78-BEB2-09845EDE0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236B52C5-C3EC-4043-A452-6B8E8B6E2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F4295051-634D-461E-979B-4F4005DD2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5320AF9F-7102-4CCC-BEA6-CFC10E173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D775128-BB51-45FC-9A4C-E14205B55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E8992022-4A00-4AE5-B8A2-F3F1F989A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48EF-4B2C-A45E-07CB64A14B3B}"/>
                </c:ext>
              </c:extLst>
            </c:dLbl>
            <c:dLbl>
              <c:idx val="12"/>
              <c:tx>
                <c:rich>
                  <a:bodyPr/>
                  <a:lstStyle/>
                  <a:p>
                    <a:fld id="{DAB15773-D9ED-4AAD-9008-60E71D1B8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BEC6FAE8-F601-4102-B6A0-77D051428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48EF-4B2C-A45E-07CB64A14B3B}"/>
                </c:ext>
              </c:extLst>
            </c:dLbl>
            <c:dLbl>
              <c:idx val="15"/>
              <c:tx>
                <c:rich>
                  <a:bodyPr/>
                  <a:lstStyle/>
                  <a:p>
                    <a:fld id="{772E12F3-95F1-4FB7-A835-D88BCBA7D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FBF192E8-EF2A-4D2E-9946-7D44F8A31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48EF-4B2C-A45E-07CB64A14B3B}"/>
                </c:ext>
              </c:extLst>
            </c:dLbl>
            <c:dLbl>
              <c:idx val="18"/>
              <c:tx>
                <c:rich>
                  <a:bodyPr/>
                  <a:lstStyle/>
                  <a:p>
                    <a:fld id="{689FE6BE-8096-45CF-8F3F-C0EFE6767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20C57672-1FD0-44CD-B69B-8B0749430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41AA2268-2F54-47EB-9F03-02CBE2BE9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5E63AAA4-3FB5-493C-91DA-553DCF250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08062249-7677-4C6B-84F7-581568863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67D697EE-C5B8-4EFB-9491-686069EAC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48EF-4B2C-A45E-07CB64A14B3B}"/>
                </c:ext>
              </c:extLst>
            </c:dLbl>
            <c:dLbl>
              <c:idx val="26"/>
              <c:tx>
                <c:rich>
                  <a:bodyPr/>
                  <a:lstStyle/>
                  <a:p>
                    <a:fld id="{AC01BC51-0BA8-41A7-A343-02E8BD2BB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E8BF13B9-98FC-4D8D-B950-B80812DBD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2FA3F849-313D-4036-AB3A-EDD80E386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4AD47467-C464-4793-81F4-A2149F166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96ADEC84-0D29-4508-8993-56B22C189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EB1F8078-CC71-4B4D-8172-1CCEFB868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CA55EDF-973B-4277-B873-27ECE6212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6A61EFED-3A44-4E79-8D45-37EFED26C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887808EC-FC1E-4F1E-AC46-2D5BC1E4C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3AE90482-207D-4A95-B93D-056DA64C9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48EF-4B2C-A45E-07CB64A14B3B}"/>
                </c:ext>
              </c:extLst>
            </c:dLbl>
            <c:dLbl>
              <c:idx val="44"/>
              <c:tx>
                <c:rich>
                  <a:bodyPr/>
                  <a:lstStyle/>
                  <a:p>
                    <a:fld id="{83617E5E-7DAD-4C02-B2B9-7B547B790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CD45F18B-A15F-4582-B422-E6BD9C742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8EF-4B2C-A45E-07CB64A14B3B}"/>
                </c:ext>
              </c:extLst>
            </c:dLbl>
            <c:dLbl>
              <c:idx val="46"/>
              <c:tx>
                <c:rich>
                  <a:bodyPr/>
                  <a:lstStyle/>
                  <a:p>
                    <a:fld id="{6879E8D7-904A-4828-A52E-05B970B09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0F044F1A-81F5-4D88-96AA-83AE4DEF3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7833E811-68DF-4226-926C-4A7D190E8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48EF-4B2C-A45E-07CB64A14B3B}"/>
                </c:ext>
              </c:extLst>
            </c:dLbl>
            <c:dLbl>
              <c:idx val="51"/>
              <c:tx>
                <c:rich>
                  <a:bodyPr/>
                  <a:lstStyle/>
                  <a:p>
                    <a:fld id="{84C34DA3-669D-47D6-BF5B-F638EA7CB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7.4887419483554693E-2</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7.4932268643946962E-2</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6">
                  <c:v>1</c:v>
                </c:pt>
                <c:pt idx="37">
                  <c:v>1</c:v>
                </c:pt>
                <c:pt idx="38">
                  <c:v>1</c:v>
                </c:pt>
                <c:pt idx="39">
                  <c:v>1</c:v>
                </c:pt>
                <c:pt idx="40">
                  <c:v>1</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6">
                  <c:v>0.27296962627611887</c:v>
                </c:pt>
                <c:pt idx="37">
                  <c:v>0.17453825430309394</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B9911AA-8E9A-4EF2-802A-634856BDF4A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6E87DE81-AD94-49D3-A8E3-9BE6091A7B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B31A9306-F01C-4A2F-B66E-DF690D28E6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04079BF8-52B3-4B9C-B631-3979857BE7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429469D-4D7B-4EED-B38F-104A3E07B8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126C20F1-311E-48FD-87FF-901A249C04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127F565D-1828-419E-B3A4-1D166587D3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60325679-BE38-4823-8328-7DA4D6D041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C5475BD8-87F5-4C9D-B79B-F677BFC77A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078511D8-AF84-4637-ACCD-7E3DD1AC4E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2EE4EC1B-1B8C-4527-8F0E-F2B0E690E4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AB5DF22A-2B60-4FDA-AA84-731064FBC7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AC3B9B16-8EFE-4BC9-A6C8-BF472DABA6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5E72D49A-1E6E-43B6-8720-704A8F9BF8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A5010EC9-2574-427F-AA0D-1BC683A798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30C7FC5A-782B-4DC4-949D-350D9EEF71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1522-4FFF-9E56-9731F6C7602B}"/>
                </c:ext>
              </c:extLst>
            </c:dLbl>
            <c:dLbl>
              <c:idx val="25"/>
              <c:tx>
                <c:rich>
                  <a:bodyPr/>
                  <a:lstStyle/>
                  <a:p>
                    <a:fld id="{2B6E4542-2B05-4372-9823-620BD81486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3053DCAA-B2D8-4BC2-BC34-538E472DAAD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D7F3BDEF-DC06-40F2-A550-F961A9C16E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D0F053A7-16FE-4264-A035-96764D9099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1522-4FFF-9E56-9731F6C7602B}"/>
                </c:ext>
              </c:extLst>
            </c:dLbl>
            <c:dLbl>
              <c:idx val="31"/>
              <c:tx>
                <c:rich>
                  <a:bodyPr/>
                  <a:lstStyle/>
                  <a:p>
                    <a:fld id="{878E2DB5-E08F-46F2-A95F-B46F0E3E43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00AC6BC9-F658-4E18-BBEC-0DFD6CBE5A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F7BD8E9-CEF1-473C-AB79-F7E391F505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1522-4FFF-9E56-9731F6C7602B}"/>
                </c:ext>
              </c:extLst>
            </c:dLbl>
            <c:dLbl>
              <c:idx val="37"/>
              <c:tx>
                <c:rich>
                  <a:bodyPr/>
                  <a:lstStyle/>
                  <a:p>
                    <a:fld id="{EFC0E3A0-7D71-4ABE-B126-9986E495B1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B1AD1499-9DCB-4D2F-9E71-D1045A8D1B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1522-4FFF-9E56-9731F6C7602B}"/>
                </c:ext>
              </c:extLst>
            </c:dLbl>
            <c:dLbl>
              <c:idx val="39"/>
              <c:tx>
                <c:rich>
                  <a:bodyPr/>
                  <a:lstStyle/>
                  <a:p>
                    <a:fld id="{15588802-9898-4137-A81E-E88709E18F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1522-4FFF-9E56-9731F6C7602B}"/>
                </c:ext>
              </c:extLst>
            </c:dLbl>
            <c:dLbl>
              <c:idx val="43"/>
              <c:tx>
                <c:rich>
                  <a:bodyPr/>
                  <a:lstStyle/>
                  <a:p>
                    <a:fld id="{AA3B778C-FACE-4E48-8F69-24B952D411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4CD21B7F-FB54-4E5D-B624-F3D2AB68F3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E46FF1B2-F5FA-41D4-A17C-5B1C3393542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1522-4FFF-9E56-9731F6C7602B}"/>
                </c:ext>
              </c:extLst>
            </c:dLbl>
            <c:dLbl>
              <c:idx val="49"/>
              <c:tx>
                <c:rich>
                  <a:bodyPr/>
                  <a:lstStyle/>
                  <a:p>
                    <a:fld id="{64AAB5CA-1F63-491D-AAEB-36860D9D78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B3C71D95-E075-4533-89A0-28B618140C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62D0ED9B-8B4F-4CC3-8672-DA7085581D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
                  <c:v>1</c:v>
                </c:pt>
                <c:pt idx="6">
                  <c:v>1</c:v>
                </c:pt>
                <c:pt idx="7">
                  <c:v>1</c:v>
                </c:pt>
                <c:pt idx="10">
                  <c:v>1</c:v>
                </c:pt>
                <c:pt idx="11">
                  <c:v>1</c:v>
                </c:pt>
                <c:pt idx="12">
                  <c:v>1</c:v>
                </c:pt>
                <c:pt idx="13">
                  <c:v>1</c:v>
                </c:pt>
                <c:pt idx="14">
                  <c:v>1</c:v>
                </c:pt>
                <c:pt idx="15">
                  <c:v>1</c:v>
                </c:pt>
                <c:pt idx="16">
                  <c:v>1</c:v>
                </c:pt>
                <c:pt idx="17">
                  <c:v>1</c:v>
                </c:pt>
                <c:pt idx="18">
                  <c:v>1</c:v>
                </c:pt>
                <c:pt idx="25">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AF208A9-DB21-4C2C-AF81-EC7240BB1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C6301095-63A9-4578-8CEC-953B85384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CEF90D19-CB5A-4918-A610-18B4D749F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C4C8713-1D8E-4EBD-8E27-997F5EE74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9626E94F-04A7-401F-B3C6-8302715C3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525B942F-B298-4AA4-BE5D-DDEAAA7BF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3AFF57DE-64E0-4D43-8365-31068B720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6BB788F4-5EAF-4BD1-A794-AA54C3E5B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CEDED6C4-7723-4F0C-8B8E-37CEC1EF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CC2C49B5-7B78-4CB9-BAD3-14670E2A8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E0A9649C-3C4A-4BE5-9C6C-B83B2A9B6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8F780DE9-4E1A-4B40-B154-1EE82812A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6FBDF305-1D9C-4E6C-8229-60DA23389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450CBFD5-2CFE-4CED-AC12-085620241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710D7424-ACBE-4BE6-908D-57A08D661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8ED7AD14-2069-4082-B1AA-3032B36FC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B855EB7D-6B12-4B3F-A18F-791B049D9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24F00407-839D-4308-A3B4-E38DDFE13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B3F3697F-6662-4BA7-B7B2-87422A07A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2A6512C5-227F-4F68-BD03-D957A086F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BD669957-BE23-4769-A4A0-E8EA0EF40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F7C8099E-5C32-4A32-B8FC-8CAAE98AB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CE05C3A-6BA7-4083-A1C6-E7FB2E4FA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5A13FB8E-7284-4456-9FD0-9F724867C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D4FFC807-41D0-41E4-90D8-79FD87095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957CD782-3092-4779-A3F7-A1BD9D977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44B359B-54DC-4A08-B261-FBCD8791A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504D15BA-84F0-4106-8625-E5F1328F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246CCC8D-A546-4399-86A1-C1FA7EBEE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92BC8266-FA77-4DDC-A76B-E53A75C4E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2FD778A9-D0FB-412E-88EA-CECB5F730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6BA10ADD-7C2F-4178-B205-2784E24C4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F5614D2F-2573-47DF-AAAB-4772C5240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7D2FF2A4-DF24-47B4-84CE-8E8C124F0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9F9DC81E-291A-4BCA-A8CE-06BCF6595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010F2874-845E-4355-B41D-03E8B5809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E73B007-5728-46B3-B285-349DF5708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94FF3CA0-2128-47D2-9E60-4153FB28F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1C166C57-596B-456E-BF1F-A70AFD099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226F2D41-31B2-4308-B6FF-7B91DEAC2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25DC8D96-D42B-4520-BEAB-57371074D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6BB19F06-BADD-45D3-BF44-139F812C6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CB09434E-9CCD-4099-AE74-BFC6E88D4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80A1A839-CA56-4638-926A-9A6E034C6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EECC7507-9006-4B2D-B4B2-0DC0F3503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A1D764C6-885A-4419-888F-418F5D6CB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26D251BC-07E2-40BD-B002-63CC83543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5B8C85F1-543E-4426-A66C-A562CFBDA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A5811ED2-EAD4-4A5A-BDD1-D20CC6125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202024B7-2A80-41BE-B765-9F6D9D536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F8C63087-98CD-4FE6-9729-BC38D1D8B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FDBAE7A6-C83A-4580-A967-35FEE192B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8DAD735C-E127-4223-9395-031C0EEFF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207074CA-FC2E-4D77-B358-6C06C16C9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DBDFB794-286A-469A-98C3-A64DDB1B2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22D9C59C-9A8D-45CD-AEBA-F9E7CCCCE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5ED9EC7B-5369-432A-86D4-751C9549D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01F91E38-737E-4427-BA92-FC7374359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0F869AC4-47B4-4B60-B461-88F3CC8B2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0D8F81ED-491E-4927-A3C7-3FBC1FB28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A34352B0-AFF4-428B-8FA1-33EA63A6E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1BF21E4-3384-4E2B-B55C-38986F4EE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FD991435-57D2-4805-93C1-45D892DC8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E0A89859-5F40-4A7C-A963-DBCEE5631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9E2EC3CB-EB7E-450E-969F-8147D5479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069B367A-BF47-48C2-8BA1-2C8E107E7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31451689-4F81-4864-895D-261B61065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1710750A-A495-46CD-83E0-691B5032E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E6222E37-5301-478A-AC85-474FC1028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579C5E15-01C7-4CCC-BC1E-A46DBC6B1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3E3F0A80-85CB-4EE2-AC2E-CFC8D5162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32EDD5E0-6514-49A9-BC6B-B1EB1E417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8C384A5B-1ED4-4C05-8D88-D52DF9CC5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1C5E6D73-BA03-4E93-B617-46A0F2A0B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FD135A37-1981-473D-A302-7BBE37E03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8E540365-A118-4DEF-8788-A6773D35A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CCAE6305-3B4C-431A-8BF1-3A95AF3B9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7D376402-EE51-4E11-AC3B-A70D5039E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2B443DA6-38B6-4225-B7C5-57CA5619D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23E3CDEF-CAED-497E-8497-A296FF2FD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B4E84B7B-26DB-4E39-A37F-64F0FCC1E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E4291D43-A1E0-4C69-99AE-AE459E06F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43A11F1F-B11D-4CE4-81EB-81B7B4161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5BBC9C12-B4AF-47EE-8DF2-29953207D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B0BD6EF8-DA2C-4907-A342-36C0CCBD7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3F0FB379-2563-4790-A078-432013BBC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5CB14F8B-615B-43FD-82BD-332A13B94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EE68C7CF-ADF8-4611-8A18-8D10495CD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048EFAF9-4E0F-4308-8EF9-17862335B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A85393FA-88C6-46B6-AA95-25705AA48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C7EF175E-EBEB-4D5E-BB7C-2674D057B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27073791-CCC1-4BE9-801E-416E3B34F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1C25B006-9266-404C-B18F-79BF698C6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3C4646B1-328D-4E93-8099-47C5D2607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2D62E609-C146-4661-920F-9D4C4E018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19C76F22-0975-48DC-A634-A8576997D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C612EB14-D052-4603-9E1D-F75FCDF2E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B586A1AA-6EC6-43F0-A55E-D92C8024F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5F58E7BC-EEB8-4F84-97E9-1D0174EBE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2318FE06-DB2A-445A-B88A-F755D2FC0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CC99512-AF85-4C8A-A424-9E49D5539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64760631-DD34-4DCC-86D5-510D32377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5900F69C-EC0E-4084-BB5C-BC572BA98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4D25E1AA-DBB9-4725-91F4-BDBEA71B6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44494A38-83E9-42D4-90C2-1634A37C3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2589DC48-F999-4B8B-9F8B-031169E5F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A7C967E1-45F1-443A-AF4F-CC45F5092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23987FE3-C9D5-4D3F-A2CF-2B3FD336D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6206C5DF-4D28-4902-96BE-91912EDCC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25B37816-F9A8-4151-BD49-CEC2A3A02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3D3B1FA3-E26A-44E1-8445-F1E05D2EC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E4DAB984-6C21-4ADE-A12E-DE19B0E82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E9B614E8-24AB-4213-8FEC-F21377576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FAF958B-1733-454B-9A08-AE1EDA512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346716E1-050F-4A51-B4C6-3C03B7174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574D87EC-0588-4493-9DA8-9C62B50BF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18282392852590251</c:v>
                </c:pt>
                <c:pt idx="2">
                  <c:v>0.2313459988554603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766903962365515E-2</c:v>
                </c:pt>
                <c:pt idx="1">
                  <c:v>-1.7983837495581301E-2</c:v>
                </c:pt>
                <c:pt idx="2">
                  <c:v>-4.221284997340066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0</c:v>
                </c:pt>
                <c:pt idx="1">
                  <c:v>-0.42900000000000005</c:v>
                </c:pt>
                <c:pt idx="2">
                  <c:v>0.125</c:v>
                </c:pt>
                <c:pt idx="3">
                  <c:v>0.55600000000000005</c:v>
                </c:pt>
                <c:pt idx="4">
                  <c:v>5</c:v>
                </c:pt>
                <c:pt idx="5">
                  <c:v>6.5</c:v>
                </c:pt>
                <c:pt idx="6">
                  <c:v>-0.8</c:v>
                </c:pt>
                <c:pt idx="7">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1.1233410174915606</c:v>
                </c:pt>
                <c:pt idx="1">
                  <c:v>20.833702869625981</c:v>
                </c:pt>
                <c:pt idx="2">
                  <c:v>2.0855384269140949</c:v>
                </c:pt>
                <c:pt idx="3">
                  <c:v>-0.7943759315237866</c:v>
                </c:pt>
                <c:pt idx="4">
                  <c:v>-0.96615568323059575</c:v>
                </c:pt>
                <c:pt idx="5">
                  <c:v>-1</c:v>
                </c:pt>
                <c:pt idx="6">
                  <c:v>-1</c:v>
                </c:pt>
                <c:pt idx="7">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522120857474219E-3</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1</c:v>
                </c:pt>
                <c:pt idx="1">
                  <c:v>0.42900000000000005</c:v>
                </c:pt>
                <c:pt idx="2">
                  <c:v>8.6999999999999966E-2</c:v>
                </c:pt>
                <c:pt idx="3">
                  <c:v>0.55600000000000005</c:v>
                </c:pt>
                <c:pt idx="4">
                  <c:v>6.5</c:v>
                </c:pt>
                <c:pt idx="5">
                  <c:v>-0.66700000000000004</c:v>
                </c:pt>
                <c:pt idx="6">
                  <c:v>0.66700000000000004</c:v>
                </c:pt>
                <c:pt idx="7">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4.0613590510432109</c:v>
                </c:pt>
                <c:pt idx="1">
                  <c:v>6.7177420213372665</c:v>
                </c:pt>
                <c:pt idx="2">
                  <c:v>1.0934879901515977</c:v>
                </c:pt>
                <c:pt idx="3">
                  <c:v>-0.7943759315237866</c:v>
                </c:pt>
                <c:pt idx="4">
                  <c:v>-1</c:v>
                </c:pt>
                <c:pt idx="5">
                  <c:v>-1</c:v>
                </c:pt>
                <c:pt idx="6">
                  <c:v>-0.85228162847384115</c:v>
                </c:pt>
                <c:pt idx="7">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89202710-2F8B-4AB4-A112-E02DEEE3B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5E7F8AD1-DDC8-474B-920A-A4F0B2F54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D97C900-6E32-4EFA-8947-68F5AD412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C079E192-566C-44FD-B15F-73A99D87F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1E16213-DCD4-4839-B0F4-15381C778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2A5326EC-77CE-4A4E-9BC6-4C9A3FFD8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D442A52-66EC-4D3A-99DD-4551917C3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DC5941CD-7E7F-421E-B45F-4FBF22A67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592FA9B3-1D65-4AFC-92EC-A51E061AA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192EC35D-F246-4EBB-9CE9-DBEEBB6EF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9BA3B52C-E91B-4833-A24B-7707C4230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C5C8A561-3F3A-4D8C-8CA9-DF7944EBB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3E9A8FDC-4DE6-499E-896C-60D731095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3D0244AD-7F4C-46E6-B132-8393640AD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B03EFDBE-169D-4E5B-A700-E7F421FB8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4CFE55B2-0E38-4BBA-AD36-79123ABB3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2D4DC619-AC82-418D-B4DD-50B2B6B11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D96AEAF6-4234-4CE7-97D1-0DA49C538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7243616D-F29C-48EB-8B3E-04DE54350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CCADA7D6-F602-47B8-B529-10FA3DCAF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728A0CDC-3721-4733-A45E-5F2CB5D60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E8F81E68-79A4-41C7-AD48-D5F840F7A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EEAA13BF-78FD-477F-9288-C7D817738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3D0AEA53-16B1-4F23-8E40-11251B460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B7F122AF-EB10-4543-AE6E-9D38239F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3DDEFAD9-E27C-4ECB-9B07-177178CDA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C8639B4A-43C7-4981-B194-253AE378E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72DFE98A-BFA2-41B5-8467-C76C70835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2C7D636C-EA08-4711-A55B-2D409F5AA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51F66994-D8F5-430A-8CA6-0ED749EDA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761BD2E2-34ED-46EA-A1D6-025D2ADAB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43C25C4B-FCF0-4DDF-9B34-DEFC84297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2B784A6E-02C0-4989-98AC-D9AE5A9A3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FD4F8D34-C16F-4000-B6CF-4EFF8C0E0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8896AF84-39AA-4087-81D2-689C0FCFC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927A879C-B9F8-4682-B64C-3FBC8297E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04A3DDAE-BD26-4C7F-9C9E-9FF5404CB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C442FEDD-78CF-4935-A545-4651233F5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5D089BC7-CAA5-4E22-85E5-611F19F08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08CC1CD7-833B-4733-B7BA-72A510D2E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28938E86-F027-4AAF-A946-D4C6C6B76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77DA1B35-9A7E-4059-A8B6-B41559FC5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C4D81521-AC40-4107-AA7B-F4EEB7E66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16E12EF-C77D-4E1C-A8AA-6F3831336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394BAA98-8FD3-4F96-853E-FECE2A69F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8F1904EA-E2CC-4C2C-A8EF-136077C3E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DD37E290-A812-4BA1-9963-A6230AD23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A609DD59-4DC6-4618-BF9E-E895459BA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5964265E-0922-404C-BEA3-6145C82FC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CF2BB90E-0F53-4630-B907-8B290DA1A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88F63ADA-C737-486C-924C-ABD526D86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CDB80CDE-901E-4FAB-BAFE-062BC9E66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65DECE82-D057-4B38-912F-0C1E3747D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1FA73FBC-ABC2-4C03-BC85-5B748F271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919E3C5E-9189-4264-AC2D-EFA2C02D1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7B187009-2581-4643-B10D-030F8A056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DB324465-FD1F-4D9C-B769-B131EBA6F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0FFE520E-DBCE-427C-8F5E-DD1EE95CE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B1FE5880-7385-4FBE-8BA3-5F658FFD5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6BB7F219-EE5F-4E70-B066-C261F2906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DF442BA3-50B2-4102-A5AD-7E11260F5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79E72EE8-A734-41B9-8D50-764DE4DE8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6C1055E6-6DA4-4EDC-91DA-84304579A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22C377F7-DA14-4FDF-85E0-AF02915E1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7286A874-42D3-4356-92D8-8A6B453B1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515E9957-AE55-4657-844F-9E5FF8151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566D946F-59F5-4051-8FD2-8CC3BC82D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12586139-4778-436F-9C7E-5EA7B4CE6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992ED50F-F80F-4BE9-9934-2E2300EB7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C51AA67F-0D55-484C-99D5-EFEC094AC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0169FC4-6085-43D8-A05C-6F950DF36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22417674-B050-4902-A61D-EA20B72C0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0C728124-2CF7-4FB6-B291-27F27D53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34B25E3F-0D2E-4858-A488-F80B89F58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491D5C9E-3BF3-47E0-A040-E68A1A988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1B5A26D5-1C60-48EF-A8BF-275F73E6F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3972C28D-1270-49EB-9E5D-0BBF47487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BBC5512D-E620-481F-8DD9-02159B6B4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65610954-E14C-4C49-BDF5-FFA80428F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082C2899-470A-404F-A503-3D9C29A59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5DBFB62B-3069-438E-B748-2A1558FB5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CB5EA4DA-9180-440A-8120-A386C7992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9895093F-015C-44B7-9CC7-F5E9C0C38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68C457D8-D078-43A8-957E-748DF2D97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56B1914-C364-4F89-B6AA-59D59CB2C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E7644DAD-DD7B-48C2-BC60-39AC89FA2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363CEB31-7A08-41EE-B53B-C2D2B82D5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2B98DDBC-0133-4B0A-BA1A-08EF521E3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209942B8-91EC-4B31-8569-5441375AB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EA9D4F8F-A852-4336-BB0B-797AF1585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90D0D3F3-8F44-42F8-981F-30CA31CD3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B26DE0EA-B821-48AC-83F4-074697EB3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20DB985D-57EC-47EC-9FF8-331232239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C489308B-AD64-4885-8784-D708604DA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157C8E7B-A76F-48D7-8744-4652E4689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FD1B2DE6-6609-407F-B124-C12F2DE73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8DA9D55A-0CDB-4C9D-8954-B4F1DE27A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3F280FCE-9356-4FF0-9EF8-E694D93BD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6CA1562F-8862-4F18-90A1-12859F730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C3DE6015-DBD5-4794-91A5-D8EAD0D13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32D4291F-CB83-4FA6-8AFD-1F2B9509F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6C0171F7-D0F5-48EA-8590-1F34F0853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DFA4D93B-622A-4B6B-B92C-EEEBD4315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42B22FAB-B2CB-4FFF-BCA9-3D5C184DF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F37844C4-B598-46DC-A02F-188393B2D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D1137E43-7153-47FD-AA28-2843B1E8D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C3EC19A1-A9F0-4D86-A8D2-BDA50F0FA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D0274147-7D43-43ED-BE8D-4424AEA35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7D3F8AFE-D506-4E7F-87B8-41864215B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0F6AC374-EC7F-40AC-A2CE-478C64922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F1219231-A8DA-4010-8F5D-568DAD318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95471A82-DE57-4210-AE99-7021687DB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4E670FCD-F059-42F6-B1F9-403DF59B3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B5FA6D02-155D-4B52-8DA3-809A455B7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AB83219F-7D82-4640-B323-5ED138027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7CDFAC96-7934-4A14-8ACC-4E50A78B6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0510853053</c:v>
                </c:pt>
                <c:pt idx="1">
                  <c:v>0.53171493485300692</c:v>
                </c:pt>
                <c:pt idx="2">
                  <c:v>0.29144139506551608</c:v>
                </c:pt>
                <c:pt idx="3">
                  <c:v>0</c:v>
                </c:pt>
                <c:pt idx="4">
                  <c:v>4.4656760499171042E-2</c:v>
                </c:pt>
                <c:pt idx="5">
                  <c:v>0</c:v>
                </c:pt>
                <c:pt idx="6">
                  <c:v>0.47459336693573279</c:v>
                </c:pt>
                <c:pt idx="7">
                  <c:v>0</c:v>
                </c:pt>
              </c:numCache>
            </c:numRef>
          </c:yVal>
          <c:bubbleSize>
            <c:numRef>
              <c:f>Sheet1!$C$2:$C$9</c:f>
              <c:numCache>
                <c:formatCode>General</c:formatCode>
                <c:ptCount val="8"/>
                <c:pt idx="0">
                  <c:v>8411779</c:v>
                </c:pt>
                <c:pt idx="1">
                  <c:v>892564</c:v>
                </c:pt>
                <c:pt idx="2">
                  <c:v>6219905</c:v>
                </c:pt>
                <c:pt idx="3">
                  <c:v>151938</c:v>
                </c:pt>
                <c:pt idx="4">
                  <c:v>899507</c:v>
                </c:pt>
                <c:pt idx="5">
                  <c:v>8373</c:v>
                </c:pt>
                <c:pt idx="6">
                  <c:v>1670207</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Dollar Shave Club</c:v>
                  </c:pt>
                  <c:pt idx="5">
                    <c:v>Van Der Hagen</c:v>
                  </c:pt>
                  <c:pt idx="6">
                    <c:v>Schick</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5169698715185</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82953276768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c:v>
                </c:pt>
                <c:pt idx="1">
                  <c:v>-0.17500000000000004</c:v>
                </c:pt>
                <c:pt idx="2">
                  <c:v>1.25</c:v>
                </c:pt>
                <c:pt idx="3">
                  <c:v>-0.88900000000000001</c:v>
                </c:pt>
                <c:pt idx="4">
                  <c:v>0</c:v>
                </c:pt>
                <c:pt idx="5">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0</c:v>
                </c:pt>
                <c:pt idx="1">
                  <c:v>-0.42900000000000005</c:v>
                </c:pt>
                <c:pt idx="2">
                  <c:v>0.125</c:v>
                </c:pt>
                <c:pt idx="3">
                  <c:v>0.55600000000000005</c:v>
                </c:pt>
                <c:pt idx="4">
                  <c:v>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AD9C334C-3644-4334-AB51-041C1E640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905C6CA-1672-4153-9FCD-4836AD220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CC237569-64A2-4D8A-9583-99F2A0D07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35B00441-5579-4197-B642-E743B5652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8D510DF3-0F87-401F-A278-D97EC6C7D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19D302AF-F01E-455A-8513-BB9D76258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5FC7F016-5314-41FA-8104-79EC0CCE9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8E0E1909-EBA8-466D-B0AC-1E499F15B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73A54938-7D10-4565-9754-A6DEE6BEE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5DDB2B1B-E674-46EB-93E3-5EF3EE37C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D14047DB-4D7F-450C-BA59-3E2EB7FDB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6A20EA28-BD9B-4689-85E1-DA29E33D5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977BB8CF-F1CD-4DB0-8F38-4FCA64D8D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F855FD85-FF09-46D7-9B04-09B877B32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02FC079B-CBD8-4033-A09D-A54009BD6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1C1B2DF6-6786-416F-80F8-65C099539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CA51F63D-8CD7-479E-B34D-E97C92C60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57A52E4C-2800-47DD-8C4C-6445E2AF1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B1FE186C-EFF3-43F4-B1B1-2545C822E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05A459B2-A553-4828-8C43-71B52AD5F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62F895B5-6D90-4916-980D-C646926CF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135FF2F9-F985-4670-9594-F4BC5150C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4212BA51-B82C-45C2-9FD8-B778EC386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E5F4411E-9C8F-4F95-BF37-DFE458A2A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D86A40B7-B018-4542-8437-A14999D3A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081D9924-F764-47CF-A0E7-80D63CED9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B70579C0-40D4-422F-8BB7-0A44551E0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EFFDF4B9-26C7-4C4C-B87E-CE7921CE8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721CD37C-B1E5-4122-9085-CE0CC0946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AA81A23F-DDAE-491C-A3A6-FC1191D08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8829A3D4-BD30-4853-8572-CE47A3947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7718BD52-F623-45BE-86FE-F28691C6C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E62F3F45-A909-458C-86F5-3B5BA058A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3FCB9D2B-953C-49B5-8206-B3FD8058B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6C98BBB2-1572-4DB0-AB2E-4722AAD68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6DACFB17-9366-4B4F-B869-BE101700F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494CE07A-F3E2-4118-BB38-287AA88DF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50F0B697-5473-45AD-A467-5F77D2EB0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E8C00817-7331-4080-B1F8-1B9672485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C9B7F7BF-03D1-4363-A94C-37EA638EB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8A1D7D74-2AD7-4C77-9E0C-F2BBF69DF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43CCDD76-4720-4539-9A8F-2AE24695D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4C3F626F-A4A1-4DDB-8E68-DC6A013C2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8A325E42-BBDB-431C-B3A4-231621288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E88436F5-3502-41A2-9CF9-BB1854222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C642A6FB-4953-4DF6-8B29-E310DD60D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72F594D0-4381-4096-81D8-FB64954CF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74A236E2-3A22-48AB-BF1B-8AFA8B00A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CFF21E32-FC17-47C2-AD03-0CA8CDA92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AA025167-B31F-49FF-ABC5-89C9CF748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61E7773C-C311-419E-BAD5-D1308B6CB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CE545E1B-3407-4C1A-8149-465519D75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DFE383F6-6117-4CCF-8AC5-7F6DA43B0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129D6AFE-8890-473F-839D-5A0FEB8AA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7A76852B-E103-49F7-8244-1FC2BA9D3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2EE6C50C-1CA8-4D80-B918-5A1AFC2A2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924B717B-2D44-4F3B-9676-B75DAFA78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908CDDF4-D10D-4D06-9DFE-84B555F93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CB550074-18CB-432F-A14F-EBBFFCCB4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AE0AD9AA-2707-4ACA-B041-673AB39E7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1D0BC6DA-76D4-4E77-9328-BE7A26144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91AEA02-37F9-4705-A17A-3D1D69972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88596421-E39C-4A72-83FD-CE71867AE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370FCE9C-D76C-429D-8ADD-1E3F57CEF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80363770-BE5A-4653-98F1-3503A01A1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1AA9D075-1E89-4997-A59D-7340F31F1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5214E966-7C30-44EF-A70B-57E9B66DB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A9747B76-7A66-48D4-9E0C-83A320D48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5E3094DF-A657-4050-9553-8D66A3536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F6986F52-E015-4708-8D26-0AAD1B4EC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AF656F6F-0955-47AB-AB23-59CE03CCE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F263B55B-309E-467F-96BF-4BD1D6BD8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CEBC69E4-1FF3-49C8-A3C5-43155F5F7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95176093-C6A0-4AA4-A004-6FB1EEBC2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A491A13C-5622-446C-BEF4-5035D6B6F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3A42F9C2-DEB6-40FE-B91B-8F256A3C6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67B89BC9-13A8-4ADD-960E-53DADD09F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BDB389E1-2DA4-4A35-92CB-56CF247B8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C55D28BA-0080-42ED-AF0A-BE6646877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E1F8FB7D-1D5C-4B8C-A5C7-D42056FB7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F544F337-9332-432F-924D-E22431D30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6A5AA8A5-BA06-4A26-9C09-AABED3996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3A3DFBBC-85A1-433E-A737-351DA34C4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6B878775-4722-487E-9A77-FCEBFB1C7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7894F14-545D-4D5E-A51E-2D6202F76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0EFB5AC9-1409-4763-B90A-834E18217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A40B45F1-2B1E-4378-ADDC-1480F9478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3E2AFE78-8C8F-40E2-88EB-73ABCFEB6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13C9A688-931E-4D2E-BC43-951681291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CA2C0F4-39B0-47C8-806B-C86FF2909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BEF40202-65A5-4A2C-854E-DCCC48055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91BAA148-A8E8-435A-955E-759BCD358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219E5122-F5E1-42B6-BF90-AC194C07C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6E6344B2-7B98-4F2F-BF67-B6C2DA3F4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91A42351-D294-4716-88D3-B5E8E94A6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5E078F7F-181F-45FE-A0D1-5D6044201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E60D7E76-1F0D-4135-B4C0-8B2FA7763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FE666668-5467-4C9F-8F42-CBBD5C0C7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491640A0-4F72-499D-B3F6-D2AF9323E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E332F713-8139-4900-BAFF-4BB4662D0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06B4C16F-65A2-4994-9F3D-EF7309F2B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B524DF26-86C5-4F50-BD5C-D6FEE5C80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4B91AAD8-6197-40FC-9D68-D3270515B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76BCC413-319F-4867-9C5F-BD7568A06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16FBA171-501D-4DE6-B710-BB820BDA1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5478EB34-C647-47DF-A09E-1223B4360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801848F5-742F-475B-AC72-FCA341B1E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F1560F11-1F05-4E2D-864A-F92B9E0FD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90F68EB6-2E78-4D7B-A583-EAEA4CEA3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0E04D17D-2C4A-43F6-BA97-111B91D04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8E26D60A-13DC-4452-BADD-A4C54AFCC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972D4D56-9C0F-4518-A9CF-4488DACCA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A08E966D-62A7-46E9-8B73-6D1E37CDE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22E9025F-9C7B-4E19-85B2-109056B2F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DC3B31F6-D6DA-46A7-9392-CCEA732ED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59CF07A9-8FFB-412C-8077-18987AC61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209705609001</c:v>
                </c:pt>
                <c:pt idx="1">
                  <c:v>6.106795890577027E-2</c:v>
                </c:pt>
                <c:pt idx="2">
                  <c:v>0</c:v>
                </c:pt>
                <c:pt idx="3">
                  <c:v>-6.4570073600096284E-2</c:v>
                </c:pt>
                <c:pt idx="4">
                  <c:v>0</c:v>
                </c:pt>
                <c:pt idx="5">
                  <c:v>-4.1643562323654133E-2</c:v>
                </c:pt>
                <c:pt idx="6">
                  <c:v>-9.5586858697451857E-2</c:v>
                </c:pt>
              </c:numCache>
            </c:numRef>
          </c:yVal>
          <c:bubbleSize>
            <c:numRef>
              <c:f>Sheet1!$C$2:$C$8</c:f>
              <c:numCache>
                <c:formatCode>General</c:formatCode>
                <c:ptCount val="7"/>
                <c:pt idx="0">
                  <c:v>38005340</c:v>
                </c:pt>
                <c:pt idx="1">
                  <c:v>4081396</c:v>
                </c:pt>
                <c:pt idx="2">
                  <c:v>271146</c:v>
                </c:pt>
                <c:pt idx="3">
                  <c:v>1029606</c:v>
                </c:pt>
                <c:pt idx="4">
                  <c:v>1171</c:v>
                </c:pt>
                <c:pt idx="5">
                  <c:v>2362412</c:v>
                </c:pt>
                <c:pt idx="6">
                  <c:v>279376</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Dollar Shave Club</c:v>
                  </c:pt>
                  <c:pt idx="4">
                    <c:v>Van Der Hagen</c:v>
                  </c:pt>
                  <c:pt idx="5">
                    <c:v>Schick</c:v>
                  </c:pt>
                  <c:pt idx="6">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7624472228571966</c:v>
                </c:pt>
                <c:pt idx="1">
                  <c:v>2.6360938181587117</c:v>
                </c:pt>
                <c:pt idx="2">
                  <c:v>-0.4658879683808137</c:v>
                </c:pt>
                <c:pt idx="3">
                  <c:v>-1</c:v>
                </c:pt>
                <c:pt idx="4">
                  <c:v>-1</c:v>
                </c:pt>
                <c:pt idx="5">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1</c:v>
                </c:pt>
                <c:pt idx="1">
                  <c:v>1.0710000000000002</c:v>
                </c:pt>
                <c:pt idx="2">
                  <c:v>0.44399999999999995</c:v>
                </c:pt>
                <c:pt idx="3">
                  <c:v>1</c:v>
                </c:pt>
                <c:pt idx="4">
                  <c:v>0</c:v>
                </c:pt>
                <c:pt idx="5">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8.4931012668750583</c:v>
                </c:pt>
                <c:pt idx="1">
                  <c:v>-0.54165499869192579</c:v>
                </c:pt>
                <c:pt idx="2">
                  <c:v>-0.64569720819071874</c:v>
                </c:pt>
                <c:pt idx="3">
                  <c:v>-0.83358088080508452</c:v>
                </c:pt>
                <c:pt idx="4">
                  <c:v>-1</c:v>
                </c:pt>
                <c:pt idx="5">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E6E5E5"/>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A8DDF38C-1A5A-4CA5-8B65-A428E7A84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B01B54B-F9B2-4078-8D86-348B51C22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4ABB109A-1E8E-4580-AB75-C423C9796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9247E3EA-C59D-4DB8-9C37-95D3BF162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4842C856-1E93-436F-904C-2C9E48A88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68B1C789-F7C6-4BB8-ACF5-E9198A257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61C68BD6-7421-4D55-95FC-33AB3B5B4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01F7306-6635-45D0-87DF-4CB578ADB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FBB097A1-E24C-49F0-9F81-A8857E9FE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3137A0A4-28EA-4A0C-AE74-B83C05A19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DA5BD6BC-97C0-48DB-953B-17F50D908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B3E24821-97C6-4A15-9F01-672D6332F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3EF00B00-1F0D-45AC-9E7F-A2C14CBD9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8B02C723-04BF-4C27-AEA5-A63C38B2C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B03C80ED-5744-4AF2-8C6F-B57C1AE3F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06C0429E-7393-49D8-BB55-D94608D87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C617E970-D788-4B27-A559-723615320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ECB123B1-6F59-486C-BF5A-76C0441B8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58CA4265-C941-40E9-BAB5-92DB070ED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0E3C84A3-3F5D-4A48-A03C-59A690C6F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7121B624-2C0E-453D-A0E1-408F61EE5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82372D58-A436-4A66-8DD3-2FBA45C9F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B5F6E16F-0B78-4BE9-9132-2760EDF1E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E9683A72-E2D9-4A2E-B15F-4FBB6E5AC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E3BAC839-90D3-4C99-909C-B4E25EC0D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2AD500E6-201F-4571-AE7E-3330AD16B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B35A6357-D92C-4CD8-84F2-FACF8B7D7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0D2E4E9C-B706-4F1C-8749-B614AD12C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7D904784-4189-40A0-8AB3-5C78031B6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41A5182C-946A-4000-B605-A0F0E9865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79C8772A-8CF0-498B-9E4A-B529DB6C5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5B78C6B3-A35B-4494-82DB-C53E9BA15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3B381432-4F8D-4BC5-BFE6-7C2035BB2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6CA45B74-F97D-4A57-B2DC-620BE73D2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54B04C23-D07B-4D1A-8F19-FB82D8571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80AFCB24-EE33-4BF7-8B09-5AB4427F0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8C6D7EF1-F362-404C-AE73-59B727DDB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8213B103-336B-4687-8958-24E8AAA26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22A03197-9A69-414A-B6D4-46A28A6CC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2A937EA3-8A75-4CCD-B645-4FD2DC235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F1FD640F-CB88-439F-ACD5-ADF243BF4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DE97713F-B83E-430E-A3BA-A3718D9F1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B47FD979-16A3-4208-96A9-6C4F2ABB9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DD49A74-DE97-45D2-9EC2-E7723DEBC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20ED7858-CE3C-4DAF-BD11-621EAD47D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707E6FCD-EF17-4BF7-BB6E-F8C23F340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342FFC76-7076-41AF-8FD5-F85D43A24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004B7CFA-AD52-4B6D-B252-18B09BACB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1EDEF5CE-F2E5-497C-991D-1A240A538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E30DAEF6-1AD2-4789-9B74-4E38251EC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07F7FAB6-AFEE-4B90-AFF2-393A33268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9F08E37A-824C-488C-AAB9-F497BF2EF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723886EA-593F-49D4-B0D9-67B21C16C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587EB767-FBE2-443C-9533-45517067F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B55CB52B-53B1-43D1-A4AE-A6DE22309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8ECE4E18-7898-46A3-9381-6F37E51FE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681EE97F-FFD8-4575-AC6E-56018DEC6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80CB7CDB-6406-46C3-AB37-974C23C99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DD5BF210-7819-48A6-9054-B2DC4AC94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CECA2A7D-7F06-4378-BB90-34581C9E4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7E7DBC4E-B742-4C6B-B2ED-7160DF6EC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94E88AF4-0C23-4DDF-9F55-4D9DA6FA4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4FD3B2F3-49DA-4212-9BB8-84D3DF1ED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DDCB45A9-36A5-4555-AC8C-FE4367B1C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8D587D9E-9186-4815-B412-86485052C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D1EE21F2-4DF4-4B13-AAC5-952660D34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EA4E5C86-4A05-4112-8A2F-C6454FE7D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8DE8C043-CE41-41D0-BBF9-1463B77B2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5A6E1A5E-469A-40A4-ABAA-849642087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D73ED1B-17BB-4572-A38C-0617370DA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345977A9-3D86-4669-949F-55DA55620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E909DEA9-44E5-4C61-B75D-9303DF46A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256A5853-5293-4E53-B9CC-661DCF45E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65E60E07-6C14-4D7F-93C3-6B68EFBBD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C18FC4D7-F6A0-4322-9E12-945901220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62E0ED8B-4EDF-4069-9D7B-3DB037F29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0766DD3A-15F2-424A-A3C1-43C6B8B13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044D7FB8-E9FF-4560-95E5-05BE7C0DB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DA982A2E-2FC2-4995-9CB2-641BD492F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A43085FB-C5C1-45C4-B962-655878F5F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676D5ADA-81DD-42C9-B5DB-474144489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B5707296-81AA-45FC-B860-575DBA76D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76C22A0E-05D5-48FB-9135-750FA1859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DC1AB795-ECBC-444C-A53E-DDD09925B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B0FF3D83-BF62-49F3-8292-AEC69E22A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D18C48C0-D19C-4D1E-A657-B5AF0614D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459226A-56DE-448F-8D6E-37457C46B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1D71C1CC-E7BA-4762-B13D-0A8EA3266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428AFB1E-DF83-4938-82D3-8B1064ABB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1F12D22C-3FA2-4C22-B147-AD2EB88D7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31A14FA8-4DD8-4260-BF81-FB031F55A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424588C9-F7BA-4BB6-8868-A2416BA19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2C7F9E7D-7E1D-4AC5-BEF2-CFB1B4B33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40B3D572-E5B5-4F20-9B3A-E2E72E197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F8626498-0AF5-48DE-A1F9-094053163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A140A5CD-1C1D-4590-83C6-8978679AD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76F2CA87-4184-45A6-8F6A-4169DF086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485F1FC5-BFE9-41A2-998B-E5ABDF5A0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19727704-4C9C-4CC0-9BB4-C6157C152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53C05DB3-DA6D-4AB4-B38C-5F0612408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CC25C5F-8872-45AF-9A85-3D5006577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70BE099D-F656-4394-B199-723A5BB35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5848F090-3B07-46EF-8892-FE03895DB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FCB9DF12-6653-4FC4-9F51-ADC378161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CC41BBCF-5FC6-4427-8D1A-58D2677BB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C04AA2F4-9D1E-4693-ADD1-9923CEF50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80D9B3F1-6CF6-440F-B3A8-F041893D6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0FD43161-2914-47E9-BB3D-48DA21556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4F09755B-25CF-4C1F-97EE-D005AD613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38DEBDA8-B29E-477D-9027-92F3842EE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1019C227-00A9-4632-A52E-90CD05B43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CFB743D1-1A58-4DA9-9DC7-6C03957F6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A225E090-992F-468F-A987-3F76918C4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0D99D0F0-0548-46C6-BC8B-A5123A8CA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651AF535-D43C-4206-9F47-E5D2317CE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03D3F38F-EA19-4FEC-9579-055BD75D8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29727399282</c:v>
                </c:pt>
                <c:pt idx="1">
                  <c:v>0.23134599885546031</c:v>
                </c:pt>
                <c:pt idx="2">
                  <c:v>0.53171493485300692</c:v>
                </c:pt>
                <c:pt idx="3">
                  <c:v>0.16872448312720459</c:v>
                </c:pt>
                <c:pt idx="4">
                  <c:v>0</c:v>
                </c:pt>
                <c:pt idx="5">
                  <c:v>0.17147629346397339</c:v>
                </c:pt>
                <c:pt idx="6">
                  <c:v>-6.0466840881935003E-3</c:v>
                </c:pt>
                <c:pt idx="7">
                  <c:v>0.13293961100065049</c:v>
                </c:pt>
                <c:pt idx="8">
                  <c:v>-1.7224132063395691E-2</c:v>
                </c:pt>
                <c:pt idx="9">
                  <c:v>0</c:v>
                </c:pt>
                <c:pt idx="10">
                  <c:v>9.1688710957997632E-2</c:v>
                </c:pt>
              </c:numCache>
            </c:numRef>
          </c:yVal>
          <c:bubbleSize>
            <c:numRef>
              <c:f>Sheet1!$C$2:$C$12</c:f>
              <c:numCache>
                <c:formatCode>General</c:formatCode>
                <c:ptCount val="11"/>
                <c:pt idx="0">
                  <c:v>56285498</c:v>
                </c:pt>
                <c:pt idx="1">
                  <c:v>6252872</c:v>
                </c:pt>
                <c:pt idx="2">
                  <c:v>892564</c:v>
                </c:pt>
                <c:pt idx="3">
                  <c:v>10656803</c:v>
                </c:pt>
                <c:pt idx="4">
                  <c:v>423669</c:v>
                </c:pt>
                <c:pt idx="5">
                  <c:v>4603858</c:v>
                </c:pt>
                <c:pt idx="6">
                  <c:v>1471589</c:v>
                </c:pt>
                <c:pt idx="7">
                  <c:v>6271036</c:v>
                </c:pt>
                <c:pt idx="8">
                  <c:v>1929113</c:v>
                </c:pt>
                <c:pt idx="9">
                  <c:v>9544</c:v>
                </c:pt>
                <c:pt idx="10">
                  <c:v>773970</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Harry's</c:v>
                  </c:pt>
                  <c:pt idx="3">
                    <c:v>Gillette</c:v>
                  </c:pt>
                  <c:pt idx="4">
                    <c:v>Harry's</c:v>
                  </c:pt>
                  <c:pt idx="5">
                    <c:v>Bic</c:v>
                  </c:pt>
                  <c:pt idx="6">
                    <c:v>Equate</c:v>
                  </c:pt>
                  <c:pt idx="7">
                    <c:v>Schick</c:v>
                  </c:pt>
                  <c:pt idx="8">
                    <c:v>Dollar Shave Club</c:v>
                  </c:pt>
                  <c:pt idx="9">
                    <c:v>Van Der Hagen</c:v>
                  </c:pt>
                  <c:pt idx="10">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DE01A079-0731-4107-B759-9039E8D63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B6D241C-A626-49EB-A636-E973080C6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FA006BE2-E9D3-418F-B8E8-0662CEADC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3570F6B8-683C-467B-AB1A-5D86AB12A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E3D7B481-45FC-423B-9732-1B30817EE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AB2B52B5-77DE-441A-A5F3-99443B4DE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C40868E-7FCC-4743-9692-46743A9B5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14820049-69C1-4DAE-A28B-FAD5A66F3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83FB72A7-F340-414D-955F-FDCA1DA91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032CBA0E-F582-41A2-A709-DCD580B98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6515E157-7EBD-4A47-985C-451C751BF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B86C18EA-4E46-484B-AD25-BAF436E16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7D8F23DB-0F04-494D-BD70-04A8D58EC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67668F7F-0F04-452E-9CA5-C845B73F3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FE441229-8209-432A-8D57-15A60821D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F0E10CD3-A92E-4CE7-8F94-A0075BD8B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1F35C181-7257-4ABF-AEFA-C1EFDCCDC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FBE0E62C-339A-4FE2-BF0B-B550F2667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64726D9F-0E4E-4EAC-8AAC-66B41EF5A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313B8618-B743-4D2C-9A73-E842A7F74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6B0F3FF8-2CD4-471B-8464-76178530D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FF81B970-13CF-403C-B763-9EC2AE94E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C0E490B-FBB9-400B-B4EE-5ECE763BC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73A59BB1-70A0-4BFA-8BD2-2535ECB31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67307D55-E499-455A-8AC3-43DB7C168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260BED3C-E34B-4CE2-BBF0-FCFBE0BA5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4DC83CB-3F6F-454A-8D48-9291A936B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C494F64C-A45A-47E2-B4D7-078362332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97ECF809-D907-4665-B098-C60DC0EF0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BAD55BF4-7046-4135-A72D-53DF6416E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1B3D2065-015E-4F06-B48F-5B7F661D3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5CD8F060-F471-4BE9-B19F-6246D254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BB763AFD-BF2F-4043-B748-583AC8174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5AEBBBA9-8546-478F-948E-B3479ECEA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7315CA71-D5A7-47CA-B332-A260777B8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50842560-EAD1-4412-A896-63359F444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54204873-ABB1-40BD-A996-94ACC57FA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E78B1749-74DD-453A-BC46-229E007A7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7EDEF4DB-CF11-42D3-8FE9-0893CA582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6D8922AF-28EE-4A94-8BA0-0221A91B1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C793BCB9-0BDB-424C-8A6F-C5A22A932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32B9FB50-9EFF-489B-84B2-D95D9AE97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34922877-6A6D-407A-B65B-6F9578B67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708358E-180C-41BD-929F-BE02DBD59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C58030FB-AF39-4834-9A5C-FBC4E55DF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1D84288F-432C-451E-8F2E-41BCA8F84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85D928EF-DBBF-431C-B256-711E7AB79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F51AA779-AC30-43EA-BF25-72C4FBABF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5695279A-7578-4475-B086-5B7059B76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CAE79A93-EA8B-4717-AA67-CB3D3C747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0ADEDABB-CCB7-46C8-8092-79339294A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9A44E4FA-FCCF-427F-9F93-EC97698BE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27D2A89D-EBB0-46E0-BDE3-86D10B3FD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09F90009-6401-4658-9125-DA74DAFDF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2A99307A-3103-4D7F-AB4C-D47F7F670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FA40FDBD-2A5F-42FB-8C04-8423BFCAB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C1148A27-0707-46BD-97AB-6883CF5A5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36290C2F-EE46-4765-B465-BA71A0725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D602B5F6-7BE0-4E5E-A81B-3DCB8485F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2D2A6BB2-AEE9-4801-8596-C3814B6CA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6400BA6F-D90C-4D33-A903-B49D9E7F3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249828B-1097-4BC9-AFC4-A9903E92F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680184D4-4FB5-4E33-A48A-6B5CD3302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1026A256-94F9-44D6-AC30-BF0341422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FF9B2E36-2793-48D4-9A45-9AB9510B6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7A209BBE-C2A0-496B-AD7B-67BB54772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734A0589-A2FB-4134-A088-FB732DF98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7A634AFE-9116-4DD3-8F7F-0B36CA7DF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BB307E10-D9F3-4CFE-BC70-A376F0D0A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DF8D28B4-2E8E-481A-BB5E-B18C22CBB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76EEE7C8-87D9-41F4-BEE4-4BD2CAA59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B4D3F19D-4A9B-4E90-8E25-179859D8F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989AE246-E701-4C08-A84A-BC247C08B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338FB5CC-6792-42AC-8B7D-9A1F3D832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62815A5D-BF0E-4DE9-B4DC-C0400B9A7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078D7FAB-A9CB-4991-9E05-419136043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B7AA67CF-3727-482D-9F68-220D7D13B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1DDA9C2F-3503-406C-ADB1-32B0D60DF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415A0558-4691-4738-A4D0-FFD2F6DCB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2560E55E-3982-4F0C-ADFA-14B731F79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34C6BA65-71F9-407F-958D-EDE89A24D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9D9CB37B-BED9-4FEA-A719-C5BA86533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17B65785-10B6-4678-89E1-540A7F4CB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F408CB18-6CE0-4498-9F7F-BB5849392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87C36A61-99F8-4FA9-90AB-D79A5B7BF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4233E69D-98D9-4348-82F3-A263B4E31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99A0655D-EB78-40B5-968F-26DCDC5AD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5460ADCC-6E9C-4DE5-93B2-70D09588D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F51C29A2-CCFE-4A2A-8AC2-30EFF5D80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FE0E4748-7F0A-414C-A1D0-ED3B0F5C0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AB606B81-4DAE-42FC-996B-0BD5B3BFF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D2F907EF-8DB2-48A1-BEFF-996AA5435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7A956E9F-2164-46B3-BC9A-B8771A9E1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13554D16-463C-4FF1-9370-74DEF45D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1D0C08A3-28BD-4C7E-942F-4ABF81525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6A1ECD65-E19F-4752-BCA5-672012012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7997230A-C062-4E6D-A28B-8F38D478C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0D9441F6-A3F6-4F2A-BA7D-1F71E2194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5A3CD5C1-6DDE-4FF5-8593-5EDBA2E77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EA03835B-7BB7-4145-A5D0-A9C61F6C6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56752600-A68F-489C-AABC-8039B4195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F87E63BF-5E13-4DDB-A9F5-27A43F651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57876D20-E762-4CD5-9675-8656F0EEC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6ED01BF9-C5EE-49BD-BDC5-E19F28CD6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74012811-2AF6-49B8-A21C-EA230621D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21877A15-1012-4689-AE16-5162E8F43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A39CF1C5-CEFB-410D-A5BD-E1E34E541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269964C5-8F58-48E5-AE06-BF0284D7E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111C3272-D2CB-4887-A01D-36F287C63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937C0D65-4511-458D-A274-DC11D9E2A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C661E4AA-40BF-4052-B802-D9A5761B4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20665538-423C-4DCD-9F95-D1566C14D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80CA9BC0-957E-4FCB-AAFF-C0FFAA262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2D292665-2175-49A6-9062-A1774A373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307FFCE-C819-49AB-9B19-23F02D1BA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50CE1E36-840C-40EF-B864-0A75DF856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63428580415</c:v>
                </c:pt>
                <c:pt idx="1">
                  <c:v>0.53171493485300692</c:v>
                </c:pt>
                <c:pt idx="2">
                  <c:v>0.1834971672284611</c:v>
                </c:pt>
                <c:pt idx="3">
                  <c:v>0</c:v>
                </c:pt>
                <c:pt idx="4">
                  <c:v>0.31549780780224967</c:v>
                </c:pt>
                <c:pt idx="5">
                  <c:v>0.1008775144845046</c:v>
                </c:pt>
                <c:pt idx="6">
                  <c:v>-1.7224132063395691E-2</c:v>
                </c:pt>
                <c:pt idx="7">
                  <c:v>-8.5369613682766091E-2</c:v>
                </c:pt>
                <c:pt idx="8">
                  <c:v>0</c:v>
                </c:pt>
                <c:pt idx="9">
                  <c:v>9.1688710957997632E-2</c:v>
                </c:pt>
              </c:numCache>
            </c:numRef>
          </c:yVal>
          <c:bubbleSize>
            <c:numRef>
              <c:f>Sheet1!$C$2:$C$11</c:f>
              <c:numCache>
                <c:formatCode>General</c:formatCode>
                <c:ptCount val="10"/>
                <c:pt idx="0">
                  <c:v>46417119</c:v>
                </c:pt>
                <c:pt idx="1">
                  <c:v>892564</c:v>
                </c:pt>
                <c:pt idx="2">
                  <c:v>10301310</c:v>
                </c:pt>
                <c:pt idx="3">
                  <c:v>423084</c:v>
                </c:pt>
                <c:pt idx="4">
                  <c:v>2887750</c:v>
                </c:pt>
                <c:pt idx="5">
                  <c:v>4032718</c:v>
                </c:pt>
                <c:pt idx="6">
                  <c:v>1929113</c:v>
                </c:pt>
                <c:pt idx="7">
                  <c:v>330412</c:v>
                </c:pt>
                <c:pt idx="8">
                  <c:v>9544</c:v>
                </c:pt>
                <c:pt idx="9">
                  <c:v>773970</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Schick</c:v>
                  </c:pt>
                  <c:pt idx="6">
                    <c:v>Dollar Shave Club</c:v>
                  </c:pt>
                  <c:pt idx="7">
                    <c:v>Equate</c:v>
                  </c:pt>
                  <c:pt idx="8">
                    <c:v>Van Der Hagen</c:v>
                  </c:pt>
                  <c:pt idx="9">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4AD2C47A-EE1D-4FE5-89B9-2BC5C8086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E0B614D0-1468-436C-A9B1-0A6D713CD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533DAD14-A702-4921-9238-4053834C8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DCE6F205-ED2C-4E0C-BB5C-6F417D9FB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53B40491-A2BA-4A57-BB8E-A4D1B5FF6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530D8AF-CEA0-4A02-80BD-9EA05C9E4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F937ABA-DF79-4E9C-B7FF-034ADBB80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3514FFEA-00F9-467E-9328-596235BE5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FD401076-C443-4592-9FB6-C054FAEB6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EA585F41-C9F7-4043-90B9-22EDA85E9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2022C3FE-C210-4286-90B4-86F37CCF3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2292DDF8-269D-4EA2-B44C-46F018B6A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A1A22AFA-2A42-4AFC-95BC-D034882AE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4B1B5FF5-80BF-4175-851E-557766708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41755364-90B2-4F1C-8CB1-502CCA42F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4F569E8B-F0D7-4AD4-86B2-CAC2B7DCB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B2BBD71D-2ABE-4555-A5D5-4006FAEA2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A292B68E-07EB-4B8A-988E-970A25676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E6E713BD-BD3A-4385-ACCD-F69B85039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50334274-35FD-4835-9604-DFAE5B89C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59F75623-0BA5-4ABF-8924-07BA43E77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C36E5CCC-CADC-4427-9FB1-2D9238F78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B161605-898C-407C-89F0-A47BB6CE9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6E8F9AEA-AF52-45F5-8C90-425CA492B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145F1C8E-5CAD-43BB-A22A-BA4F7122B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CD153242-FF6E-46AB-9841-170BF2F6D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6AEC64B1-0935-4E3F-8F95-124A0B543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943E97DB-904D-4642-BE6F-70D14E215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C48DF7CB-6610-423C-B219-26D8ACC55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DC2B5B6C-D90D-4741-97BE-C7C24D19F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DC64F4A2-F4CD-4557-B446-37414A7CC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34C362C2-5680-42D7-A47B-1185FD779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640841F5-65F0-4230-90B2-D5060DDBE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0CD9F47A-0880-4C0C-B5A1-F153F5D40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70D7FF93-7BF3-4CDD-A341-7E5553232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A8D72E52-C2AF-47FD-AFDF-DB46D87BE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2A73BE58-7AB7-4EC7-BBE9-E2FB6C426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0282EB58-C82C-48E2-B144-A8D1EC4AF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84BB275F-D1D2-4708-9840-25ECC6388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67F68E7F-42FB-41CE-990C-59B4FE2AB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DF793A07-A939-4467-99F4-712AEE542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2CAF06F9-96FF-46C3-A7EC-F10D33BE4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DDEEEE9A-3DEB-4406-9531-CC6E10173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A8B3DFB1-E254-4E79-97A0-7D9B5AEB5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4FD0F3A1-7BDA-4305-884D-30516D838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99CBD409-249B-41D4-9540-8267CBCA8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ECA5B402-8EA2-4248-8B0A-AC6DCA6D4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A83782BA-8866-4848-B678-50894C9D3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7B2FF3ED-64B7-4003-8DBC-9BD38125E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34955E0B-CF06-4DBE-A5C4-A54F0ABA9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62D23BD2-4448-41DD-87ED-CC381E5C9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FC9EBE2E-1700-4B6F-922B-D4B5B2DD7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8B409427-E479-4A2D-9180-BD042212A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E46AB402-FD60-46A2-B6CE-90B4287DD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1E170B0A-7129-48EA-B977-DF3AE6050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4F6633BD-7576-4B71-B1B8-F8D71C7C3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BD004B70-24C1-401C-936F-1900BE63A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7F67C77C-1CC4-4015-A4B4-25EB871C1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3C3B93D3-52E8-4466-A4C1-BA3D8FC0C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24FC6DF6-4B87-448C-9229-1E4C0F892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336D761F-DCC8-4005-9F40-5D74C2772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CFEA04C2-905E-4B6A-AB6C-591869806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D6714323-ABE9-49A5-8994-F910F6683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49D052EB-362C-4C9B-AFED-7881B07B3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30E766C9-F06A-4456-89AA-E70771040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23EE9BD8-8B0E-467D-89A9-642243C87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93CDA618-7DDB-4797-9089-B9B054872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E4CE04F4-74D1-4535-AF46-C510BA588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DF7CF4DC-EB1D-40F4-9E81-F4168C0F9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2E2BC785-A29A-4149-B6EB-64B3FEDDE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F147D69-8FC6-4825-ACC3-11EFEDE43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B53D4BC-C9E0-4225-84F0-781306EDF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DEB80B3B-B4F1-4DF5-8711-8B1E4B5AC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B5ECEA3B-4F3F-4034-B776-918655FC6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B420590E-215F-4754-AFF4-B2DFCD244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56C08922-BFE3-4B3F-A419-6B40A42D4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8EE7780A-1984-456D-B0EB-24A864376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CD3B04E9-3B2A-4E95-B187-27DCEEC53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8D7272F0-09DF-4D45-A889-40236B58C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A1FADE81-ADE4-4A65-86D3-A058000BE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CF35E1CC-6E42-4CA8-9A8C-E733E9B90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F89A1022-6ED9-481B-A35E-AC97CA765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36D578AF-924A-4699-BD20-662D82FA1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828CCCA5-D9E0-4CF9-A93D-B8DA8454A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6690E1B9-AADD-4445-9322-4A62E3DA8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951E0BB7-527D-41BA-9DE3-821E56567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7C5FDE90-24E1-41B8-AC0D-1CF0F4F84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164CEB1A-7E8B-4A66-943C-22F786009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4562875E-8B89-49CF-BCBD-2641E5D2D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8D8C208B-71B4-4729-A6EC-6FBD60B91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9539DD0F-7AA9-4DCA-9DE3-3921AA6FC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3471ECDA-5DC1-44F9-B82F-7A10936DE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13EE3697-D2A0-4D7D-B86C-E8ED05EB4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566D0E5A-5360-41F7-B35C-5A4803064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5BC614DF-509F-4F79-9622-CF1159679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FF522B56-2D1D-475D-819F-8C3F810C4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2E05483A-506A-4A63-B9F0-613274D11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1CF0ED0E-374C-4432-914F-5B482EA51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8F13A226-2E0F-4668-8DCE-871C4C4EF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7D0A27EB-2A07-48F8-B256-CAEABC8C0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96DD5B67-8A48-42E6-B6D8-129B53BBC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EAA5EB04-9F74-4594-BF82-8B1057579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7243532C-936A-47B4-87A5-FE42BF08C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4134E7BB-FAC5-40E3-B6F2-0BDC37DAD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E4A0E3BA-0266-4EDB-9CA2-F01AFB402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2BA3755E-E87E-44C1-8151-29C9DD050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AA579DDF-1AE8-42BF-BF96-A5000D1BA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35002B10-B4B7-47FD-A48F-3AD7B0064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28B65051-CF5A-4D89-B119-A1BEBFDFB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F083ED1D-F1CE-4F11-A423-74C603004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7E76E79F-7BEE-41A8-8D35-364527A48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B8EAA254-612A-407E-950E-D6120C979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58EF2139-9909-4A63-A9B7-303BD3B39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5FC08BFD-D801-4BDA-9CF8-0191DC1F2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5AB6AA40-5150-4BDF-8E6E-A6C692754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B84D3C25-75F5-4641-B431-05CA9C565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23134599885546031</c:v>
                </c:pt>
                <c:pt idx="2">
                  <c:v>0.1828239285259025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D7546874-F66D-43DA-8030-B85BA2436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31E7759-CE7E-4335-AD8A-A636145D9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0A5EB8E-1E56-4B8D-830A-11302F9C3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4D1647B-BE3D-4AE9-A649-B45D98D6F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7C65EC2-1250-438D-A9D5-4F928963A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B25DD62-63B7-47F5-8981-8B83C7631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C52BD8E-526C-4367-A1E1-B2966A40C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DD8C5669-5E49-4DA3-A99A-D8E191337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60CF62D3-61CD-4CF5-A7BD-D2B9167F6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05BAD28A-5C7F-4778-8929-34F94F713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73ABFE35-815B-4C07-B08D-8D1FEA868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294BC555-A415-4C6C-A3F0-ABED3988F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E71DA058-4E9D-4F11-B942-6D6B175D4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D4555865-8AB3-4C0B-BE45-B6761AFF8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8AFDEA36-89D9-46F2-8E5F-F1B9151E2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69F3902A-B95F-4FCF-B02A-A507E1123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41DCE3DA-61BF-4183-AE13-5EE5A61D8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03F8D811-7B07-4F44-9A9F-8167A0317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F83949D9-D4DB-4BDF-83CC-A8DDF25F5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DDC806FD-2D1A-4F95-AD84-779A67065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14A0B6AA-B3A1-4F68-A7E4-6556369A4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FB5C3883-1424-480F-80D3-84F3E069B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6356AC04-2644-4675-99C1-FDA5B6ADD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C1A8EAC5-99E4-4A63-B966-6B5B460C1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99564C0B-ED5C-42B3-8AA8-DEC8B0D4D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D1E0B016-9A2A-4F60-AC50-CD2BB2E2E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11408CED-DEC2-4765-87D8-0C865BBDA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A8D34FC4-2423-4597-9EDE-229844071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06B6B6DB-73A0-49F9-B0A6-45E45821B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D2BB9CC6-D8C6-4DE2-BA73-CDF7DDB18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6C978031-E51E-4417-A961-124BF4DFA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E499A0D0-5B97-4F67-A24B-B0F201D8B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A97A7897-2B0B-433B-84C9-887C10885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8EEE3E65-85CF-47F1-B0C9-4FEAEFE33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9BD9124E-1023-4D43-848C-8F20B5BF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5103E884-05CF-4474-9EAF-45B2314FF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218A43A-234C-4345-9F6C-97340F6D0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45228A9F-501F-4ADF-84CC-94033E841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218B7C42-6195-415E-A62D-2C44F7BC6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08D9C650-8AFF-43B9-B0E7-70175F040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E9F819DC-F8C0-441F-B348-CE84792B4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CB4995A6-7F46-429E-99EC-92F257302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0434E4B7-B3D6-4C5F-9393-EF15BB34F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8886A791-BE2D-4398-8334-265D6B22D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2589A857-77D0-40B0-BF4B-80C2C1BA3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70D4A76A-C8B1-4485-A806-87535D695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1A07DAF8-A3F2-4E9D-A052-5504DC4B6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39F773BB-0BD7-4063-AC71-30AC13170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61283B77-BEE0-44D7-BF5C-A1483E657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3C4B5F7F-B2CF-4C38-926C-19DBE5D5C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428ADD6F-27F4-4E49-A627-CD4761049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543DD476-1846-48FF-B37B-DDB1B46BB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A85B9CF4-E909-4E80-ABD7-4266D01C6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FD11568D-FA31-452B-9222-64E4EF776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E7AF9C64-63C4-4015-995D-4FA6130E4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59FA338C-33B1-4FF4-8C7A-93C489D11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3975D7AD-F84B-4F34-A60D-1D269CF44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A8C0B3A5-60D4-45F8-BA6A-268AD5BAD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54BAC85F-5E64-48B9-90B1-A12EE8E86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004234CF-5E50-47F2-8C00-4B033F676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2092275A-31BF-4800-A854-70D7CFFD6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34BD2346-AFE4-4BDB-A6BE-6F294688F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047BF50A-D061-4C62-B528-13678F5EB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ED5787E7-16B3-48FF-B2D4-8414B29E8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6925113A-3FFA-47A7-8D2C-A23AF76BD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D5222BF9-1D1D-4007-B994-C11D0A395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0D5A3E2C-46F3-43A5-A40A-45F3BF05A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04F47FB1-8ED0-4C65-9122-4A037F97A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DB01F017-7852-4211-BCAA-ADA94292F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A4AAE07F-AF00-421F-950B-A8365FDBE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F809249C-1BF7-4EA5-A887-A4ED26B1D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D20F7C6E-1113-4840-9D4D-1B2709C4E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5770F9D8-22E1-4276-814C-387D18545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C9015FC5-3635-4DD9-BE61-FFDDA6858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8FA29F6F-8B62-4510-9CED-233EB58F9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87D45061-7A95-4F34-80C3-0A673922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8BF4834E-9DD7-4678-BFEB-FFA6157A3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92BA1B66-26C6-455F-B384-C2C8FAC96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1C7A71CF-C743-4FA8-965B-6CDAB8A36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804E9B19-4C62-4205-B674-DBC24E9CF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620A5375-93F3-44F0-8317-115F02200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C17C64ED-B29F-4206-A733-8CFE315E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3FBBC347-9513-441E-BDCC-61EC578B3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F6EC15B5-2421-474F-A9A1-DB007D22F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EB113F9-F083-43A4-A15E-FA1B6D50D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3B6C4F2E-0B2F-4FE4-BB2E-DBABE3D5B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85468E4E-88E3-436E-9C41-A6C0B1B93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98E0982C-1240-4964-8C98-D1BD49173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521C4362-07FA-4F1A-A5BD-F8BA4074A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5C0637B7-A137-4A8B-A4F5-748099907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1DDA7453-7394-4A2F-B0F4-538220800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EBAF2260-E1C4-4CBC-A8C0-B15C165CD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546D00D8-E1D7-4308-B400-C7DA6288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F190FF94-723A-4E51-BA4D-12AA82155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B87467F2-040B-4829-9133-84DF181D3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13A52E81-103F-49F9-9193-68776A632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C3D6ECF4-1BDE-477D-930F-90AB122BE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2B60680B-485E-47D7-B00F-C97AB413F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E77DB23D-DFC5-4C16-AA56-C590206F5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A8262980-F71B-479C-B0AF-EBBD4086B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8D54E8A8-6882-47F6-BD96-69F5B16A4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55699BB6-CEB0-4742-BE8A-5F059732F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E26575E6-D27B-4F8C-9111-76CFB52C9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4102E84F-DE96-4345-941B-D77510484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612824E9-B752-4669-BD22-6F22569C4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A20E67B3-099A-4007-9342-311D90C6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351E17F4-FBEC-4089-AB95-10B61209C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FFEC8938-D073-4250-8D3C-249E0FF19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1DF3B3F3-B26B-426D-9602-E402E3DF6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E802EFF8-6678-4A58-85CE-DEE6389F5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90240DD4-5F5C-49E8-A7EB-DEC103C06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2FA17831-4DCA-4A6A-B264-FFF021E1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FA5F34E0-5630-486F-8485-C97B54074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7F7EEB82-51A9-447F-AD9B-E79DC3ADF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5671A131-3423-4C0C-A566-64CBDA792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1D067A6C-95C9-4868-AD0E-8BEF69519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23134599885546031</c:v>
                </c:pt>
                <c:pt idx="2">
                  <c:v>0.1828239285259025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7ECAC4"/>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B066F263-8E25-4E2F-8F69-2A7BEDE38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9AF40C26-0705-46BC-9471-C1BC75A13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D4C699B-75A7-45D8-9E6B-AABEA2572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5EFF227F-AECA-4DD2-AE31-518F9765F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97B6EED-CE9A-4C8F-B85C-18E78734D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C76ECD3-06D6-4E76-9368-7604DD8C5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2B10BD90-5B89-430B-9783-DD48CE2AE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8592EEA0-2A54-4B8F-B151-3705FFD21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73ACE70B-3AAE-4F40-A439-0E4315054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758D12A9-AEB3-431B-84AD-4EB48A8E0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4394AB07-2803-4603-BC3C-30939B0F2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C4195F62-BA99-4FA2-B731-89716D99E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DF184A3E-AB86-48F0-B750-3B8C9A231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FA5325C6-5FF8-4FDA-BA16-486DF34B9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F453A707-A77D-43D2-B32C-67F3E3F61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B5B1DD83-6E94-4DB0-A990-39D1019D6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6DCEF04D-BAD3-4164-AE5F-400B8C993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8B3B0FC-352B-4FE7-9BB4-D840B7E25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D313FEDB-0B34-4ECA-860E-7C3646CC7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EFA457E6-3C57-4263-B7AC-E85DA1FBB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CDD781CE-1FCA-4BBA-92A0-0348619C0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81B02E59-50C3-4BBE-A144-494D30989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D39901EF-E0A7-4C5F-B735-453E14228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7A382939-9F06-4651-9148-A8097BEEB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7EFF4C87-F972-4103-AF8F-E8BD42FE8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1C6FB58C-F70B-4F90-B843-1B50A98D5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A79CCF45-2939-44AE-ADC4-967A691FB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DFD0B81E-EFFA-486E-9690-F8565E97D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6BBB797B-E276-427F-9812-19B99313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EC9793B8-2AF8-46CA-8469-B3ABBCA69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022DB5B3-7E29-4A38-AFC7-C6ACEA720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C60B8EF2-9844-4832-BCBA-FB4E97769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32666E23-EB34-4E05-BFA2-BA30973FB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0DBF45C0-ED30-4A29-850B-241E3A046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26D6D802-05FC-473E-99D0-CFF557E2C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1BF9B56D-FDD8-4BC1-B0D3-375561078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07F3E44C-AA5E-4791-9CC1-C194EF4BB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C6CE294F-910A-4C1F-BE25-C93C23332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D59BC5F6-CDA8-442C-8181-4488DC9E6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415D50FF-768B-4370-AE70-B948E542D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02B3B641-C801-469F-AE3D-683ADD01B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F0C67469-4816-41DA-84A0-D0EBE639C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9689BAE8-861A-4F59-BE8E-982D14451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9714BD6F-C347-4363-A2A6-A4892A9F2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3F86AAB5-834D-456F-A802-7852FB2B2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0EB35585-0CF8-4487-9335-6FC5A910B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F156F831-A612-40D8-AE73-AF184E1C2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37EC43A2-C2E4-49EA-ADDC-2066E8426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16AD755D-0B04-421C-9CBD-8B75B578F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4016C486-C364-4D0D-B2BF-DBD14387C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2DB88B05-F17F-4EBC-97C1-0F2D12B06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A6831DBC-9005-48FC-A715-2BEAB89AF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A42E1162-3320-4749-A2BD-C918AF803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64FA0445-BB09-4A19-9C06-A0A3EECA9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C1E8F8E8-CE34-4458-81FB-5F9FBC8B2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60955DBD-FE02-4203-B819-00E1A8863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6D5C0937-F9AB-4353-8925-E1C80C9E6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E21F0D88-8683-4421-A5A1-9B7AE13F0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F5A51A02-65EE-4197-A3EF-21517E888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79164B70-2AC4-4126-997D-0B0EBFDC6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F0D57C97-9BAE-48B8-A115-13413B62F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AED8F39F-59F7-418E-9371-0A654FA4A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F5D9380B-AC4F-4292-AE3B-2B784B729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F6ED1173-3867-4272-A934-2EB379BA9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E7372C9B-4F0F-46E9-9188-925BDC64C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B39B245A-2D05-4B79-96A7-828FBEF83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E677D757-51EE-4375-A6E9-6BF6E834D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32FBF7E2-DD8A-4E3E-941B-453131A07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40D0528F-CD74-47DF-827C-C505EA7F4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5D1865CB-5960-43E6-8903-C784159D0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ABFCA597-0980-4473-BBD5-2DC59E9EF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C1F2F1B1-5F78-43C4-9CE7-67144A6A8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72D3EB6E-9A1B-4444-AD78-C35146B2F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F79CC1EE-2FAF-4BCE-8CB6-B46ED12C9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80A71068-95BB-437F-8DEC-10ED9DB7E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CDBD54CF-B892-479E-AE41-9484DFA90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170699B8-C242-44D1-ACDA-1C98FD6EA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ABB28DDC-C9BC-46F7-8FA0-FA83BCE4C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49254B8F-E6CC-448A-AC06-1EA8E436A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BDC93296-FCAC-4784-AB45-DA4D260D8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58F17A9-956B-4AB4-9EAB-E7A01D8A9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21479872-742B-4DD6-A0AF-841FAA750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22A81519-55AA-4DBD-8389-D49D48997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1496EA63-E4AF-4321-821F-1F4EF8F55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D755C157-6B95-44BC-AFD7-720EA9B9B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F3C403DC-7892-4810-929B-6F27513DB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0C2C5009-222F-44AC-BBEB-BEBB0623E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B0C387F3-B1F3-4EBA-8672-39E21DD35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F4CBB653-EA82-42A5-8D4A-BC988DC6F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03A9BC48-C65D-4AEF-BD3F-2C8340603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4D521DAA-81AE-430C-BF32-99205D6EC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8DEEDEC6-547E-4168-93AE-7810A307C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22D20FCF-1426-4B1B-B4A2-74E618400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9C41AB2D-F61E-4CC0-AE4C-D86819C76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5016D9D9-0E3C-4E93-8533-BE1D7D7E6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73AD1623-B306-4291-8359-215FD8192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F357D98C-832D-4471-9F15-6868B41AA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2C70DF55-253D-4BF0-A7F9-CEFE3FAD1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A92FB39D-5135-46B0-A4D9-43C6E73C4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3E2C05A3-CFED-48A1-9698-7EF6190AF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65B9F744-3626-4C19-9769-54D911983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F9DAF2B9-B497-4225-B08B-5B30DF3CE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59CE18A5-8FBB-4F10-9DCC-D6239B252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F8D963A8-5E6C-4CC2-AB44-3A658B9E8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F14939E4-775E-4234-9B88-202A16673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2DC86EF2-9C8A-4933-AB85-CF1DB3CF7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210D8DB7-B505-473C-82E4-C625A04C3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410C520E-03EF-4ED5-83C1-460435F68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7A304703-EFC7-4101-BA70-74158C7C2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78277E76-DD03-4D20-93F7-8040521BC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9E9C86C5-8EE1-4AE9-8CA0-0D665EC31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BF9FD180-7C5F-407F-885F-5BCD7C6FF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A98AD1AE-D5C7-42B7-A7C4-8F7D015E7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043D16F7-F54A-40C4-926B-31AE1E55E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61AA2120-A379-483F-AB26-C8CB86817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03038147-6824-46E5-8AC4-BA528E76B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0510853053</c:v>
                </c:pt>
                <c:pt idx="1">
                  <c:v>0.53171493485300692</c:v>
                </c:pt>
                <c:pt idx="2">
                  <c:v>0.29144139506551608</c:v>
                </c:pt>
                <c:pt idx="3">
                  <c:v>0</c:v>
                </c:pt>
                <c:pt idx="4">
                  <c:v>0.47459336693573279</c:v>
                </c:pt>
                <c:pt idx="5">
                  <c:v>4.4656760499171042E-2</c:v>
                </c:pt>
                <c:pt idx="6">
                  <c:v>0</c:v>
                </c:pt>
                <c:pt idx="7">
                  <c:v>0</c:v>
                </c:pt>
              </c:numCache>
            </c:numRef>
          </c:yVal>
          <c:bubbleSize>
            <c:numRef>
              <c:f>Sheet1!$C$2:$C$9</c:f>
              <c:numCache>
                <c:formatCode>General</c:formatCode>
                <c:ptCount val="8"/>
                <c:pt idx="0">
                  <c:v>8411779</c:v>
                </c:pt>
                <c:pt idx="1">
                  <c:v>892564</c:v>
                </c:pt>
                <c:pt idx="2">
                  <c:v>6219905</c:v>
                </c:pt>
                <c:pt idx="3">
                  <c:v>151938</c:v>
                </c:pt>
                <c:pt idx="4">
                  <c:v>1670207</c:v>
                </c:pt>
                <c:pt idx="5">
                  <c:v>899507</c:v>
                </c:pt>
                <c:pt idx="6">
                  <c:v>8373</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Schick</c:v>
                  </c:pt>
                  <c:pt idx="5">
                    <c:v>Dollar Shave Club</c:v>
                  </c:pt>
                  <c:pt idx="6">
                    <c:v>Van Der Hagen</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7ECAC4"/>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A25B12E2-82D3-4A99-9C65-3BF4880FD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57B95C19-7118-4C90-9AFD-C5A900608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EB4F0A31-CD5C-4BA1-BB87-063C25234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20E892B3-3DDD-45C5-A0C2-FE33291FD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FB7F087C-6D12-43E2-84EE-0D2DEDB6C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77A8261E-09C5-4759-ABE0-ADC2BAA78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997A680-DC72-4798-B98D-0F63A53EC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8D6B571B-CD84-4701-A144-799494BA1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23F9A320-84DF-48C1-8257-6D4BB9F97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0E14AD80-9B2C-472C-B2BC-B482F04DC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605203CA-3BC6-45BC-A1E5-B2590C8C9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A9496455-A8C3-4797-8769-176F33CB2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39F028A1-0FED-47FE-B147-B9E4CBEF0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9945940E-A2AA-411B-AB4E-40B8EB125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DA20CB5F-8579-42E6-AC40-0E048C578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D8FD5086-83B0-400D-8A37-C2AE44CBB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339DB593-C05B-47C9-9A58-0CEC740D9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7C8BEDF2-FADC-4B1D-83DB-5C39F1027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24CA0046-7D7C-4151-9E97-C3DAA65AE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EB7DC299-FA4F-4F28-AC7C-8BE4690C3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062CBFE7-587A-4978-9181-D961FFCD1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CF95A080-5470-4246-9E90-CB920159A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159F8352-F001-4A98-8340-B3A9C88A8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51921557-0368-4AF5-B764-CDBD9BE00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37776B2-A7BC-41F0-B62E-B086FCA2D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68997FD7-B15C-421A-819B-D84DEE54E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E66C41E-68F5-4C9D-A65E-F5606BF5B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C6AD4641-59F6-4ADB-8590-54C26BB10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ABD39D02-D1B9-46A5-B780-A64AA2363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B8E94F45-8113-4421-B22F-C4F9FE49F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58942272-4326-41C7-B2B5-AA3A34C03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C2F437D0-4A94-40D5-B8E1-27BAAB3D1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BF472E3D-4AFA-4B1D-86C7-2ACAB8EE5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C74F93C7-3589-490C-B002-6BE397682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40C9830B-E0AF-44FE-B217-31158BDB6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22DFD152-C7D4-4C37-95A2-EA76ADB5C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C8615417-DCAC-461C-B98C-0644AB622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3506F844-75C2-41DC-ADEE-B5B280856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EF27975E-B6F1-461E-A106-2C7055226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92801F20-7DFA-49B6-B40C-252CE6CEF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C12155FE-1E4A-4DC2-9D97-DD799EBEB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55178BBC-0B4E-4B25-A8D9-6D46E8085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A941E966-9B46-44B9-AA80-21016EDE9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04896885-F686-47D8-8DF6-2FDE678EE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84F96B8A-2BD8-4C68-ACB4-3CF77F651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B57B61E8-EB43-4B2A-B9A3-6E1517914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4638CBC0-81E3-4E25-A99D-082DA3623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931548E1-1A43-4267-A8BC-EF0CD4408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2A947B4C-86D6-4722-B98C-94DD038C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9B5C182A-85E8-4391-8AB0-7B8C3772D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BE40F55C-9CBB-4E08-A213-DCF580F09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66B0F9D1-79BA-4427-A844-035CC53DA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AF339B40-4B7A-4A74-ACBD-B50406557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8D295C4D-0D3F-45B6-8252-E899D0FF8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4DA3F7FA-3021-44DF-9B83-FADBB335B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388F88B1-5098-480B-B238-00A5E5AF3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819B8A7F-A950-46A6-BF88-0C6D28DC6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D3EBE830-46D9-4499-A771-8601054A8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4D011A2C-46C2-4823-991D-450ABA1CC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586D8E64-1D71-4D0E-8513-D93971DE8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AC5FB091-4AF6-4929-9A26-754668ED7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A7C4B519-BC6A-446E-98B1-3F2E9F8AE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C9E65CFF-F85C-433C-9DFA-DC223BD1C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AB7A2183-B248-4BBB-AF58-B8E30ED88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C4E7C48A-AFD7-4CF7-BD20-4EBE8CC14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0C102882-1F04-402C-B8E9-272F52D2D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A56B560B-7DA7-4137-B973-2F8B20BBF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3A758447-6992-4E15-846D-7E05468C8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577E2E98-6AF2-47B4-9609-27C64E10B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6B4684BE-BC00-4FDF-B3CC-57B2C8F03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7235586F-1302-43F8-AEA0-D89F5AB16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1E909493-35DC-4186-B708-C53A86378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46508900-3314-4BD3-851E-5E96A841B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A9421F1-F147-4B98-AB65-DC71BA36D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8CD380E3-83E5-4391-A501-F36FFA1BA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67E103DF-05EC-425D-B4F5-6474DE8E2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87FD79EB-DA37-4354-AD05-DDF85350A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27DDF2C2-DEF8-4D34-B618-8A49D1B01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7B37E408-57C9-4B1F-B166-3030DFC26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CC9FF92B-E20D-4013-9025-0366B7A19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4F1DEEC6-426F-4DF4-9F29-70294A067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5EE93F1D-62AE-4CD2-B03C-2213E4EB0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473D200D-5DDE-455A-96F7-251563FBD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C59A844A-3112-4E5D-80EC-10B8F908E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CE18120A-0E63-4052-9DD8-0DA108B57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6F32BA66-8A40-460A-A233-08CE14E18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AF765DF1-54E9-44F7-BAA3-90C48184C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829AB7A0-60C1-46A8-A920-D60C4B322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5A2ED2EF-025B-4D06-9647-6E76C4B5D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394FC29C-69CC-4F32-9181-C1AFDA3C8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EA286068-6371-4BBC-A338-EC1A2E913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83C4A4D2-F94F-4D29-8697-D823E843A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DD7BBC24-D8E0-4633-B189-0DE16B22F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D97C9B26-6C19-4C90-8E96-9AF1E4A54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8A3DEF9D-A625-4016-A69F-4E2DAD625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C70C1A5F-CCC6-4110-9373-B7F631140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76CD6F30-7287-4A9B-A90F-23F0CA564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64E26E96-68DB-4EBE-8402-D09EDCA48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F6F2797A-C675-4608-8849-0A2648AE4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6B164FCC-4E82-4193-A6FB-7F0EA5CD6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4F199D8C-F4DE-4BDD-B1E9-576D52FAB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85CD2673-6FD1-4CD5-9DC8-CFFA15B19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331094A3-CE8B-4D3B-9532-51BDBC64B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A14A9593-0DC1-4110-B78F-154D2BE6B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A7B574B6-C4A2-460A-B933-AD58A2C2B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4512A41D-A21E-422D-966F-7031C532C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E22426B5-BA81-47CA-A151-CAAA502CD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2F2C62D9-0057-4437-8EFF-22D54907B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F16622D9-69F8-437E-B49C-DD1F8C939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A381DD17-35C9-4A2E-9CE2-3A8F08E1E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DBF1E656-5402-47A1-8C88-61E40C491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1CAB2BBB-0746-4071-8BF7-7C90DD9BC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E7C36355-9164-4D09-8CF1-A4FFA71F2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D981087C-6361-43EB-A463-061A49047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BD9DDDEF-0734-4650-BC7E-520C7E177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BD4CD8E-8C2C-4AAF-AE35-D385663DB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209705609001</c:v>
                </c:pt>
                <c:pt idx="1">
                  <c:v>6.106795890577027E-2</c:v>
                </c:pt>
                <c:pt idx="2">
                  <c:v>0</c:v>
                </c:pt>
                <c:pt idx="3">
                  <c:v>-4.1643562323654133E-2</c:v>
                </c:pt>
                <c:pt idx="4">
                  <c:v>-6.4570073600096284E-2</c:v>
                </c:pt>
                <c:pt idx="5">
                  <c:v>-9.5586858697451857E-2</c:v>
                </c:pt>
                <c:pt idx="6">
                  <c:v>0</c:v>
                </c:pt>
              </c:numCache>
            </c:numRef>
          </c:yVal>
          <c:bubbleSize>
            <c:numRef>
              <c:f>Sheet1!$C$2:$C$8</c:f>
              <c:numCache>
                <c:formatCode>General</c:formatCode>
                <c:ptCount val="7"/>
                <c:pt idx="0">
                  <c:v>38005340</c:v>
                </c:pt>
                <c:pt idx="1">
                  <c:v>4081396</c:v>
                </c:pt>
                <c:pt idx="2">
                  <c:v>271146</c:v>
                </c:pt>
                <c:pt idx="3">
                  <c:v>2362412</c:v>
                </c:pt>
                <c:pt idx="4">
                  <c:v>1029606</c:v>
                </c:pt>
                <c:pt idx="5">
                  <c:v>279376</c:v>
                </c:pt>
                <c:pt idx="6">
                  <c:v>1171</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Schick</c:v>
                  </c:pt>
                  <c:pt idx="4">
                    <c:v>Dollar Shave Club</c:v>
                  </c:pt>
                  <c:pt idx="5">
                    <c:v>Equate</c:v>
                  </c:pt>
                  <c:pt idx="6">
                    <c:v>Van Der Hagen</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fld id="{940A2188-29D8-4E15-9982-739B32292C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14A66F87-32F3-4219-8F3C-2F0C0F2E0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280E8AD-79F5-46D9-98A4-6F2EAE1BEE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2D6097F0-32B2-4891-8CF5-BBCCC3023B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5C76EDC5-F351-4546-B62A-028330BD2D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CB8233CB-C5ED-4138-885B-A5D450E9E0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0C180B88-F9B4-4472-8162-F88BA733B4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3C775CD5-FFE2-483B-A882-13C7FED1EC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32E90149-13EA-4D06-8FB8-FA69350542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E0C842E4-2D57-4337-9722-431C4CA900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15EAE4E4-ECB2-40D7-9850-3EF4D9F14E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16BC16CA-519E-48B8-9A90-F96CF4D1A8C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319657BA-AD28-4598-9FC3-5B2BC8AFAD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12678EB2-B9BE-4A3C-A1A9-B429A3CB13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043FCE49-82F5-4D2D-8D2C-947873948F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3A4B5B4A-8A63-48FF-B5E3-B8133B6592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2BEC7020-E46C-41F5-882D-5957F966D2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A3BA079D-54D6-4A06-B376-92E7E14B25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00A0E3EF-2983-4892-9FA6-C4C94E949A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4799298A-B1D7-44A2-A20F-F60316882F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9E95D7F9-817F-4B1D-A0F7-90DE2E8FE5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9AE27AA8-A343-4140-BCCC-25D3F94F11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82417DF0-B875-48C5-883F-5B37121B92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E68EBDD0-8E75-45D7-A307-0B1B3E3095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9E2C3BF4-7EF3-4E14-BD91-FEC3594A50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6AE7A892-E6FA-42BC-A720-87D736C9D8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C4285D37-0215-45F2-A613-11FC326BBD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8142C85E-65AA-4E06-80CE-C7B1731090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CF071F34-60A6-4709-975B-DFCDDD2146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DA6C2941-E15D-4A90-87F8-75AE05D243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5CB72B54-DCF3-4DB8-B256-3AC0428B9B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1</c:v>
                </c:pt>
                <c:pt idx="1">
                  <c:v>0.1</c:v>
                </c:pt>
                <c:pt idx="2">
                  <c:v>0.09</c:v>
                </c:pt>
                <c:pt idx="3">
                  <c:v>0.18</c:v>
                </c:pt>
                <c:pt idx="4">
                  <c:v>0.09</c:v>
                </c:pt>
                <c:pt idx="5">
                  <c:v>0.15</c:v>
                </c:pt>
                <c:pt idx="6">
                  <c:v>0.16</c:v>
                </c:pt>
                <c:pt idx="7">
                  <c:v>0.11</c:v>
                </c:pt>
                <c:pt idx="8">
                  <c:v>0.15</c:v>
                </c:pt>
                <c:pt idx="9">
                  <c:v>0.14000000000000001</c:v>
                </c:pt>
                <c:pt idx="10">
                  <c:v>0.14000000000000001</c:v>
                </c:pt>
                <c:pt idx="11">
                  <c:v>0.63</c:v>
                </c:pt>
                <c:pt idx="12">
                  <c:v>0.32</c:v>
                </c:pt>
                <c:pt idx="13">
                  <c:v>0.18</c:v>
                </c:pt>
                <c:pt idx="14">
                  <c:v>0.19</c:v>
                </c:pt>
                <c:pt idx="15">
                  <c:v>0.09</c:v>
                </c:pt>
                <c:pt idx="16">
                  <c:v>0.17</c:v>
                </c:pt>
              </c:numCache>
            </c:numRef>
          </c:xVal>
          <c:yVal>
            <c:numRef>
              <c:f>Sheet1!$B$2:$B$18</c:f>
              <c:numCache>
                <c:formatCode>General</c:formatCode>
                <c:ptCount val="17"/>
                <c:pt idx="0">
                  <c:v>0.41971844948119458</c:v>
                </c:pt>
                <c:pt idx="1">
                  <c:v>0.32321333425762577</c:v>
                </c:pt>
                <c:pt idx="2">
                  <c:v>0.36276214714860788</c:v>
                </c:pt>
                <c:pt idx="3">
                  <c:v>0.57638357247666672</c:v>
                </c:pt>
                <c:pt idx="4">
                  <c:v>0.23920180796808771</c:v>
                </c:pt>
                <c:pt idx="5">
                  <c:v>0.49380320527335569</c:v>
                </c:pt>
                <c:pt idx="6">
                  <c:v>0.57084878338506662</c:v>
                </c:pt>
                <c:pt idx="7">
                  <c:v>0.64004334794386986</c:v>
                </c:pt>
                <c:pt idx="8">
                  <c:v>0.81179470441236323</c:v>
                </c:pt>
                <c:pt idx="9">
                  <c:v>4.4079737091422273E-2</c:v>
                </c:pt>
                <c:pt idx="10">
                  <c:v>0.4457406191728599</c:v>
                </c:pt>
                <c:pt idx="11">
                  <c:v>0.83772084414568115</c:v>
                </c:pt>
                <c:pt idx="12">
                  <c:v>0.883084064382609</c:v>
                </c:pt>
                <c:pt idx="13">
                  <c:v>1.5836045021710721</c:v>
                </c:pt>
                <c:pt idx="14">
                  <c:v>0.6815896641199366</c:v>
                </c:pt>
                <c:pt idx="15">
                  <c:v>7.4577739281074057E-2</c:v>
                </c:pt>
                <c:pt idx="16">
                  <c:v>0.27030795344325897</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ENSOR 2 PLUS PIVOT 2 BLADE DISPOSABLE NORMAL 52CT</c:v>
                  </c:pt>
                  <c:pt idx="3">
                    <c:v>SCHICK XTREME 3 SENSITIVE BLACK GREEN 3 BLADE DISPOSABLE SENSITIVE 20CT</c:v>
                  </c:pt>
                  <c:pt idx="4">
                    <c:v>GILLETTE FUSION 5 PROGLIDE 5 BLADE RAZOR NORMAL 13CT</c:v>
                  </c:pt>
                  <c:pt idx="5">
                    <c:v>GILLETTE SKINGUARD POWER 2 BLADE REFILL SENSITIVE 13CT</c:v>
                  </c:pt>
                  <c:pt idx="6">
                    <c:v>GILLETTE FUSION 5 5 BLADE RAZOR NORMAL 9CT</c:v>
                  </c:pt>
                  <c:pt idx="7">
                    <c:v>GILLETTE SENSOR 3 SENSITIVE BLUE GREEN 3 BLADE DISPOSABLE SENSITIVE 24CT</c:v>
                  </c:pt>
                  <c:pt idx="8">
                    <c:v>HARRY'S ORANGE 5 BLADE RAZOR NORMAL 11CT</c:v>
                  </c:pt>
                  <c:pt idx="9">
                    <c:v>SCHICK XTREME 3 SENSITIVE BLACK 3 BLADE DISPOSABLE SENSITIVE 20CT</c:v>
                  </c:pt>
                  <c:pt idx="10">
                    <c:v>BIC FLEX 5 BLACK WHITE 5 BLADE DISPOSABLE NORMAL 9CT</c:v>
                  </c:pt>
                  <c:pt idx="11">
                    <c:v>GILLETTE INTIMATE BLACK 5 BLADE RAZOR 9CT</c:v>
                  </c:pt>
                  <c:pt idx="12">
                    <c:v>GILLETTE FUSION 5 PROGLIDE 5 BLADE REFILL NORMAL 15CT</c:v>
                  </c:pt>
                  <c:pt idx="13">
                    <c:v>GILLETTE LABS 5 BLADE RAZOR NORMAL 6CT</c:v>
                  </c:pt>
                  <c:pt idx="14">
                    <c:v>BIC 3 SENSITIVE BLUE GRAY 3 BLADE DISPOSABLE SENSITIVE 21CT</c:v>
                  </c:pt>
                  <c:pt idx="15">
                    <c:v>GILLETTE FUSION 5 PROGLIDE 5 BLADE REFILL NORMAL 13CT</c:v>
                  </c:pt>
                  <c:pt idx="1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HARRY'S SURF BLUE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065-43D3-A943-7D7449EEB076}"/>
                </c:ext>
              </c:extLst>
            </c:dLbl>
            <c:dLbl>
              <c:idx val="51"/>
              <c:tx>
                <c:rich>
                  <a:bodyPr/>
                  <a:lstStyle/>
                  <a:p>
                    <a:r>
                      <a:t>EQUATE TB (TWIN BLADE) BLUE 2 BLADE DISPOSABLE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065-43D3-A943-7D7449EEB076}"/>
                </c:ext>
              </c:extLst>
            </c:dLbl>
            <c:dLbl>
              <c:idx val="52"/>
              <c:tx>
                <c:rich>
                  <a:bodyPr/>
                  <a:lstStyle/>
                  <a:p>
                    <a:r>
                      <a:t>BIC SENSITIVE 2 2 BLADE DISPOSABLE NORMAL 10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065-43D3-A943-7D7449EEB076}"/>
                </c:ext>
              </c:extLst>
            </c:dLbl>
            <c:dLbl>
              <c:idx val="53"/>
              <c:tx>
                <c:rich>
                  <a:bodyPr/>
                  <a:lstStyle/>
                  <a:p>
                    <a:r>
                      <a:t>BIC FLEX 5 5 BLADE DISPOSABLE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065-43D3-A943-7D7449EEB076}"/>
                </c:ext>
              </c:extLst>
            </c:dLbl>
            <c:dLbl>
              <c:idx val="54"/>
              <c:tx>
                <c:rich>
                  <a:bodyPr/>
                  <a:lstStyle/>
                  <a:p>
                    <a:r>
                      <a:t>EQUATE EASY FIT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065-43D3-A943-7D7449EEB076}"/>
                </c:ext>
              </c:extLst>
            </c:dLbl>
            <c:dLbl>
              <c:idx val="55"/>
              <c:tx>
                <c:rich>
                  <a:bodyPr/>
                  <a:lstStyle/>
                  <a:p>
                    <a:r>
                      <a:t>EQUATE EASY FIT 5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065-43D3-A943-7D7449EEB076}"/>
                </c:ext>
              </c:extLst>
            </c:dLbl>
            <c:dLbl>
              <c:idx val="56"/>
              <c:tx>
                <c:rich>
                  <a:bodyPr/>
                  <a:lstStyle/>
                  <a:p>
                    <a:r>
                      <a:t>HARRY'S SILVER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065-43D3-A943-7D7449EEB076}"/>
                </c:ext>
              </c:extLst>
            </c:dLbl>
            <c:dLbl>
              <c:idx val="57"/>
              <c:tx>
                <c:rich>
                  <a:bodyPr/>
                  <a:lstStyle/>
                  <a:p>
                    <a:r>
                      <a:t>GILLETTE FUSION 5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065-43D3-A943-7D7449EEB076}"/>
                </c:ext>
              </c:extLst>
            </c:dLbl>
            <c:dLbl>
              <c:idx val="58"/>
              <c:tx>
                <c:rich>
                  <a:bodyPr/>
                  <a:lstStyle/>
                  <a:p>
                    <a:r>
                      <a:t>GILLETTE MACH 3 MULTI COLOR 3 BLADE DISPOSABLE SENSITIVE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065-43D3-A943-7D7449EEB076}"/>
                </c:ext>
              </c:extLst>
            </c:dLbl>
            <c:dLbl>
              <c:idx val="59"/>
              <c:tx>
                <c:rich>
                  <a:bodyPr/>
                  <a:lstStyle/>
                  <a:p>
                    <a:r>
                      <a:t>GILLETTE INTIMATE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065-43D3-A943-7D7449EEB076}"/>
                </c:ext>
              </c:extLst>
            </c:dLbl>
            <c:dLbl>
              <c:idx val="60"/>
              <c:tx>
                <c:rich>
                  <a:bodyPr/>
                  <a:lstStyle/>
                  <a:p>
                    <a:r>
                      <a:t>BIC COMFORT 3 MULTI COLOR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065-43D3-A943-7D7449EEB076}"/>
                </c:ext>
              </c:extLst>
            </c:dLbl>
            <c:dLbl>
              <c:idx val="61"/>
              <c:tx>
                <c:rich>
                  <a:bodyPr/>
                  <a:lstStyle/>
                  <a:p>
                    <a:r>
                      <a:t>BIC FLEX 5 HYBRID 5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065-43D3-A943-7D7449EEB076}"/>
                </c:ext>
              </c:extLst>
            </c:dLbl>
            <c:dLbl>
              <c:idx val="62"/>
              <c:tx>
                <c:rich>
                  <a:bodyPr/>
                  <a:lstStyle/>
                  <a:p>
                    <a:r>
                      <a:t>BIC FLEX 5 HYBRID 5 BLADE HYBRID NORMAL 7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065-43D3-A943-7D7449EEB076}"/>
                </c:ext>
              </c:extLst>
            </c:dLbl>
            <c:dLbl>
              <c:idx val="63"/>
              <c:tx>
                <c:rich>
                  <a:bodyPr/>
                  <a:lstStyle/>
                  <a:p>
                    <a:r>
                      <a:t>GILLETTE FUSION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065-43D3-A943-7D7449EEB076}"/>
                </c:ext>
              </c:extLst>
            </c:dLbl>
            <c:dLbl>
              <c:idx val="64"/>
              <c:tx>
                <c:rich>
                  <a:bodyPr/>
                  <a:lstStyle/>
                  <a:p>
                    <a:r>
                      <a:t>HARRY'S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065-43D3-A943-7D7449EEB076}"/>
                </c:ext>
              </c:extLst>
            </c:dLbl>
            <c:dLbl>
              <c:idx val="65"/>
              <c:tx>
                <c:rich>
                  <a:bodyPr/>
                  <a:lstStyle/>
                  <a:p>
                    <a:r>
                      <a:t>GILLETTE SKINGUARD 2 BLADE REFILL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065-43D3-A943-7D7449EEB076}"/>
                </c:ext>
              </c:extLst>
            </c:dLbl>
            <c:dLbl>
              <c:idx val="66"/>
              <c:tx>
                <c:rich>
                  <a:bodyPr/>
                  <a:lstStyle/>
                  <a:p>
                    <a:r>
                      <a:t>EQUATE SPEED 3 SENSITIVE GREEN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065-43D3-A943-7D7449EEB076}"/>
                </c:ext>
              </c:extLst>
            </c:dLbl>
            <c:dLbl>
              <c:idx val="67"/>
              <c:tx>
                <c:rich>
                  <a:bodyPr/>
                  <a:lstStyle/>
                  <a:p>
                    <a:r>
                      <a:t>GILLETTE SENSOR 2 PLUS PIVOT 2 BLADE DISPOSABLE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065-43D3-A943-7D7449EEB076}"/>
                </c:ext>
              </c:extLst>
            </c:dLbl>
            <c:dLbl>
              <c:idx val="68"/>
              <c:tx>
                <c:rich>
                  <a:bodyPr/>
                  <a:lstStyle/>
                  <a:p>
                    <a:r>
                      <a:t>BIC COMFORT 3 HYBRID 3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065-43D3-A943-7D7449EEB076}"/>
                </c:ext>
              </c:extLst>
            </c:dLbl>
            <c:dLbl>
              <c:idx val="69"/>
              <c:tx>
                <c:rich>
                  <a:bodyPr/>
                  <a:lstStyle/>
                  <a:p>
                    <a:r>
                      <a:t>BIC SINGLE SENSITIVE 1 BLADE DISPOSABLE SENSITIVE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065-43D3-A943-7D7449EEB076}"/>
                </c:ext>
              </c:extLst>
            </c:dLbl>
            <c:dLbl>
              <c:idx val="7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065-43D3-A943-7D7449EEB076}"/>
                </c:ext>
              </c:extLst>
            </c:dLbl>
            <c:dLbl>
              <c:idx val="71"/>
              <c:tx>
                <c:rich>
                  <a:bodyPr/>
                  <a:lstStyle/>
                  <a:p>
                    <a:r>
                      <a:t>GILLETTE SENSOR 2 FIXED 2 BLADE DISPOSABLE NORMAL 1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065-43D3-A943-7D7449EEB076}"/>
                </c:ext>
              </c:extLst>
            </c:dLbl>
            <c:dLbl>
              <c:idx val="72"/>
              <c:tx>
                <c:rich>
                  <a:bodyPr/>
                  <a:lstStyle/>
                  <a:p>
                    <a:r>
                      <a:t>SCHICK XTREME 3 SENSITIVE GREEN BLACK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065-43D3-A943-7D7449EEB076}"/>
                </c:ext>
              </c:extLst>
            </c:dLbl>
            <c:dLbl>
              <c:idx val="73"/>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065-43D3-A943-7D7449EEB076}"/>
                </c:ext>
              </c:extLst>
            </c:dLbl>
            <c:dLbl>
              <c:idx val="74"/>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065-43D3-A943-7D7449EEB076}"/>
                </c:ext>
              </c:extLst>
            </c:dLbl>
            <c:dLbl>
              <c:idx val="75"/>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065-43D3-A943-7D7449EEB076}"/>
                </c:ext>
              </c:extLst>
            </c:dLbl>
            <c:dLbl>
              <c:idx val="76"/>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065-43D3-A943-7D7449EEB076}"/>
                </c:ext>
              </c:extLst>
            </c:dLbl>
            <c:dLbl>
              <c:idx val="77"/>
              <c:tx>
                <c:rich>
                  <a:bodyPr/>
                  <a:lstStyle/>
                  <a:p>
                    <a:r>
                      <a:t>EQUATE CALIBER 3 3 BLADE DISPOSABLE NORMAL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065-43D3-A943-7D7449EEB076}"/>
                </c:ext>
              </c:extLst>
            </c:dLbl>
            <c:dLbl>
              <c:idx val="78"/>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065-43D3-A943-7D7449EEB076}"/>
                </c:ext>
              </c:extLst>
            </c:dLbl>
            <c:dLbl>
              <c:idx val="79"/>
              <c:tx>
                <c:rich>
                  <a:bodyPr/>
                  <a:lstStyle/>
                  <a:p>
                    <a:r>
                      <a:t>GILLETTE SENSOR 2 PLUS 2 BLADE DISPOSABLE NORMAL 21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065-43D3-A943-7D7449EEB076}"/>
                </c:ext>
              </c:extLst>
            </c:dLbl>
            <c:dLbl>
              <c:idx val="80"/>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065-43D3-A943-7D7449EEB076}"/>
                </c:ext>
              </c:extLst>
            </c:dLbl>
            <c:dLbl>
              <c:idx val="81"/>
              <c:tx>
                <c:rich>
                  <a:bodyPr/>
                  <a:lstStyle/>
                  <a:p>
                    <a:r>
                      <a:t>EQUATE SPEED 3 SENSITIVE GREEN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065-43D3-A943-7D7449EEB076}"/>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3</c:f>
              <c:numCache>
                <c:formatCode>General</c:formatCode>
                <c:ptCount val="82"/>
                <c:pt idx="0">
                  <c:v>0.16</c:v>
                </c:pt>
                <c:pt idx="1">
                  <c:v>0.11</c:v>
                </c:pt>
                <c:pt idx="2">
                  <c:v>0.1</c:v>
                </c:pt>
                <c:pt idx="3">
                  <c:v>7.0000000000000007E-2</c:v>
                </c:pt>
                <c:pt idx="4">
                  <c:v>0.14000000000000001</c:v>
                </c:pt>
                <c:pt idx="5">
                  <c:v>0.14000000000000001</c:v>
                </c:pt>
                <c:pt idx="6">
                  <c:v>0.11</c:v>
                </c:pt>
                <c:pt idx="7">
                  <c:v>0.06</c:v>
                </c:pt>
                <c:pt idx="8">
                  <c:v>0.11</c:v>
                </c:pt>
                <c:pt idx="9">
                  <c:v>0.19</c:v>
                </c:pt>
                <c:pt idx="10">
                  <c:v>0.03</c:v>
                </c:pt>
                <c:pt idx="11">
                  <c:v>0.45</c:v>
                </c:pt>
                <c:pt idx="12">
                  <c:v>0.03</c:v>
                </c:pt>
                <c:pt idx="13">
                  <c:v>0.11</c:v>
                </c:pt>
                <c:pt idx="14">
                  <c:v>0.05</c:v>
                </c:pt>
                <c:pt idx="15">
                  <c:v>0.02</c:v>
                </c:pt>
                <c:pt idx="16">
                  <c:v>0.14000000000000001</c:v>
                </c:pt>
                <c:pt idx="17">
                  <c:v>0.16</c:v>
                </c:pt>
                <c:pt idx="18">
                  <c:v>0.01</c:v>
                </c:pt>
                <c:pt idx="19">
                  <c:v>0.04</c:v>
                </c:pt>
                <c:pt idx="20">
                  <c:v>0.04</c:v>
                </c:pt>
                <c:pt idx="21">
                  <c:v>0.1</c:v>
                </c:pt>
                <c:pt idx="22">
                  <c:v>0.35</c:v>
                </c:pt>
                <c:pt idx="23">
                  <c:v>0.1</c:v>
                </c:pt>
                <c:pt idx="24">
                  <c:v>0.12</c:v>
                </c:pt>
                <c:pt idx="25">
                  <c:v>7.0000000000000007E-2</c:v>
                </c:pt>
                <c:pt idx="26">
                  <c:v>7.0000000000000007E-2</c:v>
                </c:pt>
                <c:pt idx="27">
                  <c:v>0.04</c:v>
                </c:pt>
                <c:pt idx="28">
                  <c:v>0.28000000000000003</c:v>
                </c:pt>
                <c:pt idx="29">
                  <c:v>0.39</c:v>
                </c:pt>
                <c:pt idx="30">
                  <c:v>0.01</c:v>
                </c:pt>
                <c:pt idx="31">
                  <c:v>0.47</c:v>
                </c:pt>
                <c:pt idx="32">
                  <c:v>0.14000000000000001</c:v>
                </c:pt>
                <c:pt idx="33">
                  <c:v>0.47</c:v>
                </c:pt>
                <c:pt idx="34">
                  <c:v>0.39</c:v>
                </c:pt>
                <c:pt idx="35">
                  <c:v>0.46</c:v>
                </c:pt>
                <c:pt idx="36">
                  <c:v>0.54</c:v>
                </c:pt>
                <c:pt idx="37">
                  <c:v>0.28999999999999998</c:v>
                </c:pt>
                <c:pt idx="38">
                  <c:v>0.03</c:v>
                </c:pt>
                <c:pt idx="39">
                  <c:v>0.01</c:v>
                </c:pt>
                <c:pt idx="40">
                  <c:v>0.09</c:v>
                </c:pt>
                <c:pt idx="41">
                  <c:v>0.52</c:v>
                </c:pt>
                <c:pt idx="42">
                  <c:v>0.45</c:v>
                </c:pt>
                <c:pt idx="43">
                  <c:v>0.02</c:v>
                </c:pt>
                <c:pt idx="44">
                  <c:v>0.65</c:v>
                </c:pt>
                <c:pt idx="45">
                  <c:v>0.4</c:v>
                </c:pt>
                <c:pt idx="46">
                  <c:v>0.39</c:v>
                </c:pt>
                <c:pt idx="47">
                  <c:v>0.1</c:v>
                </c:pt>
                <c:pt idx="48">
                  <c:v>0.09</c:v>
                </c:pt>
                <c:pt idx="49">
                  <c:v>0.11</c:v>
                </c:pt>
                <c:pt idx="50">
                  <c:v>0.03</c:v>
                </c:pt>
                <c:pt idx="51">
                  <c:v>0.04</c:v>
                </c:pt>
                <c:pt idx="52">
                  <c:v>0.39</c:v>
                </c:pt>
                <c:pt idx="53">
                  <c:v>0.06</c:v>
                </c:pt>
                <c:pt idx="54">
                  <c:v>0.2</c:v>
                </c:pt>
                <c:pt idx="55">
                  <c:v>0.12</c:v>
                </c:pt>
                <c:pt idx="56">
                  <c:v>0.01</c:v>
                </c:pt>
                <c:pt idx="57">
                  <c:v>0.04</c:v>
                </c:pt>
                <c:pt idx="58">
                  <c:v>0.02</c:v>
                </c:pt>
                <c:pt idx="59">
                  <c:v>0.66</c:v>
                </c:pt>
                <c:pt idx="60">
                  <c:v>0.42</c:v>
                </c:pt>
                <c:pt idx="61">
                  <c:v>0.36</c:v>
                </c:pt>
                <c:pt idx="62">
                  <c:v>0.11</c:v>
                </c:pt>
                <c:pt idx="63">
                  <c:v>0.28000000000000003</c:v>
                </c:pt>
                <c:pt idx="64">
                  <c:v>0.12</c:v>
                </c:pt>
                <c:pt idx="65">
                  <c:v>0.54</c:v>
                </c:pt>
                <c:pt idx="66">
                  <c:v>0.06</c:v>
                </c:pt>
                <c:pt idx="67">
                  <c:v>0.14000000000000001</c:v>
                </c:pt>
                <c:pt idx="68">
                  <c:v>0.26</c:v>
                </c:pt>
                <c:pt idx="69">
                  <c:v>0.08</c:v>
                </c:pt>
                <c:pt idx="70">
                  <c:v>0.08</c:v>
                </c:pt>
                <c:pt idx="71">
                  <c:v>0.11</c:v>
                </c:pt>
                <c:pt idx="72">
                  <c:v>0.04</c:v>
                </c:pt>
                <c:pt idx="73">
                  <c:v>0.18</c:v>
                </c:pt>
                <c:pt idx="74">
                  <c:v>0.16</c:v>
                </c:pt>
                <c:pt idx="75">
                  <c:v>0.14000000000000001</c:v>
                </c:pt>
                <c:pt idx="76">
                  <c:v>0.57999999999999996</c:v>
                </c:pt>
                <c:pt idx="77">
                  <c:v>0.06</c:v>
                </c:pt>
                <c:pt idx="78">
                  <c:v>0.08</c:v>
                </c:pt>
                <c:pt idx="79">
                  <c:v>0.22</c:v>
                </c:pt>
                <c:pt idx="80">
                  <c:v>0.01</c:v>
                </c:pt>
                <c:pt idx="81">
                  <c:v>0.06</c:v>
                </c:pt>
              </c:numCache>
            </c:numRef>
          </c:xVal>
          <c:yVal>
            <c:numRef>
              <c:f>Sheet1!$B$2:$B$83</c:f>
              <c:numCache>
                <c:formatCode>General</c:formatCode>
                <c:ptCount val="82"/>
                <c:pt idx="0">
                  <c:v>1.312053273286643</c:v>
                </c:pt>
                <c:pt idx="1">
                  <c:v>0.67602970542929453</c:v>
                </c:pt>
                <c:pt idx="2">
                  <c:v>0.28036068611811321</c:v>
                </c:pt>
                <c:pt idx="3">
                  <c:v>2.322914669885693E-2</c:v>
                </c:pt>
                <c:pt idx="4">
                  <c:v>1.15044401511685</c:v>
                </c:pt>
                <c:pt idx="5">
                  <c:v>0.45428332366686403</c:v>
                </c:pt>
                <c:pt idx="6">
                  <c:v>0.91679313854690692</c:v>
                </c:pt>
                <c:pt idx="7">
                  <c:v>0.45219100593391298</c:v>
                </c:pt>
                <c:pt idx="8">
                  <c:v>8.8637819366076523E-2</c:v>
                </c:pt>
                <c:pt idx="9">
                  <c:v>1.313920192130057</c:v>
                </c:pt>
                <c:pt idx="10">
                  <c:v>0.15600012891003129</c:v>
                </c:pt>
                <c:pt idx="11">
                  <c:v>1.2051359733489531</c:v>
                </c:pt>
                <c:pt idx="12">
                  <c:v>5.2758507112676142E-2</c:v>
                </c:pt>
                <c:pt idx="13">
                  <c:v>0.2181542191916945</c:v>
                </c:pt>
                <c:pt idx="14">
                  <c:v>0.36596438157955558</c:v>
                </c:pt>
                <c:pt idx="15">
                  <c:v>0</c:v>
                </c:pt>
                <c:pt idx="16">
                  <c:v>0.31284334569805361</c:v>
                </c:pt>
                <c:pt idx="17">
                  <c:v>0.24607902091034181</c:v>
                </c:pt>
                <c:pt idx="18">
                  <c:v>0</c:v>
                </c:pt>
                <c:pt idx="19">
                  <c:v>0</c:v>
                </c:pt>
                <c:pt idx="20">
                  <c:v>0.20391858358753209</c:v>
                </c:pt>
                <c:pt idx="21">
                  <c:v>0</c:v>
                </c:pt>
                <c:pt idx="22">
                  <c:v>0.37892159394589803</c:v>
                </c:pt>
                <c:pt idx="23">
                  <c:v>0.51540924912371144</c:v>
                </c:pt>
                <c:pt idx="24">
                  <c:v>0</c:v>
                </c:pt>
                <c:pt idx="25">
                  <c:v>0</c:v>
                </c:pt>
                <c:pt idx="26">
                  <c:v>0</c:v>
                </c:pt>
                <c:pt idx="27">
                  <c:v>2.5617209633611041E-2</c:v>
                </c:pt>
                <c:pt idx="28">
                  <c:v>9.6810902583398334E-2</c:v>
                </c:pt>
                <c:pt idx="29">
                  <c:v>0.60985348269802508</c:v>
                </c:pt>
                <c:pt idx="30">
                  <c:v>0</c:v>
                </c:pt>
                <c:pt idx="31">
                  <c:v>0.98571760573774991</c:v>
                </c:pt>
                <c:pt idx="32">
                  <c:v>0</c:v>
                </c:pt>
                <c:pt idx="33">
                  <c:v>1.2512478823607049</c:v>
                </c:pt>
                <c:pt idx="34">
                  <c:v>0.34438555153868777</c:v>
                </c:pt>
                <c:pt idx="35">
                  <c:v>0.95133552575640024</c:v>
                </c:pt>
                <c:pt idx="36">
                  <c:v>1.7794925098213989</c:v>
                </c:pt>
                <c:pt idx="37">
                  <c:v>0</c:v>
                </c:pt>
                <c:pt idx="38">
                  <c:v>0</c:v>
                </c:pt>
                <c:pt idx="39">
                  <c:v>0</c:v>
                </c:pt>
                <c:pt idx="40">
                  <c:v>0</c:v>
                </c:pt>
                <c:pt idx="41">
                  <c:v>2.2922743831121171</c:v>
                </c:pt>
                <c:pt idx="42">
                  <c:v>0.39685483890510381</c:v>
                </c:pt>
                <c:pt idx="43">
                  <c:v>0</c:v>
                </c:pt>
                <c:pt idx="44">
                  <c:v>2.2987878695261892</c:v>
                </c:pt>
                <c:pt idx="45">
                  <c:v>0.53310328427430254</c:v>
                </c:pt>
                <c:pt idx="46">
                  <c:v>0.86440057806425596</c:v>
                </c:pt>
                <c:pt idx="47">
                  <c:v>2.1416509932592909E-3</c:v>
                </c:pt>
                <c:pt idx="48">
                  <c:v>0</c:v>
                </c:pt>
                <c:pt idx="49">
                  <c:v>0</c:v>
                </c:pt>
                <c:pt idx="50">
                  <c:v>0</c:v>
                </c:pt>
                <c:pt idx="51">
                  <c:v>5.5183946488294312E-2</c:v>
                </c:pt>
                <c:pt idx="52">
                  <c:v>6.0135664931825483E-2</c:v>
                </c:pt>
                <c:pt idx="53">
                  <c:v>0.92898913951545525</c:v>
                </c:pt>
                <c:pt idx="54">
                  <c:v>0.44487523013291641</c:v>
                </c:pt>
                <c:pt idx="55">
                  <c:v>0</c:v>
                </c:pt>
                <c:pt idx="56">
                  <c:v>0</c:v>
                </c:pt>
                <c:pt idx="57">
                  <c:v>0</c:v>
                </c:pt>
                <c:pt idx="58">
                  <c:v>0</c:v>
                </c:pt>
                <c:pt idx="59">
                  <c:v>2.62605457765184</c:v>
                </c:pt>
                <c:pt idx="60">
                  <c:v>-0.19122701483892099</c:v>
                </c:pt>
                <c:pt idx="61">
                  <c:v>0</c:v>
                </c:pt>
                <c:pt idx="62">
                  <c:v>0</c:v>
                </c:pt>
                <c:pt idx="63">
                  <c:v>0</c:v>
                </c:pt>
                <c:pt idx="64">
                  <c:v>0</c:v>
                </c:pt>
                <c:pt idx="65">
                  <c:v>0.47877352484274333</c:v>
                </c:pt>
                <c:pt idx="66">
                  <c:v>0</c:v>
                </c:pt>
                <c:pt idx="67">
                  <c:v>0</c:v>
                </c:pt>
                <c:pt idx="68">
                  <c:v>0</c:v>
                </c:pt>
                <c:pt idx="69">
                  <c:v>0</c:v>
                </c:pt>
                <c:pt idx="70">
                  <c:v>0</c:v>
                </c:pt>
                <c:pt idx="71">
                  <c:v>0</c:v>
                </c:pt>
                <c:pt idx="72">
                  <c:v>0</c:v>
                </c:pt>
                <c:pt idx="73">
                  <c:v>0</c:v>
                </c:pt>
                <c:pt idx="74">
                  <c:v>0</c:v>
                </c:pt>
                <c:pt idx="75">
                  <c:v>0</c:v>
                </c:pt>
                <c:pt idx="76">
                  <c:v>0.7357053867086325</c:v>
                </c:pt>
                <c:pt idx="77">
                  <c:v>0</c:v>
                </c:pt>
                <c:pt idx="78">
                  <c:v>0</c:v>
                </c:pt>
                <c:pt idx="79">
                  <c:v>0</c:v>
                </c:pt>
                <c:pt idx="80">
                  <c:v>0</c:v>
                </c:pt>
                <c:pt idx="81">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SCHICK XTREME 3 SENSITIVE GREEN HOLIDAY GIFT PACK 3 BLADE DISPOSABLE SENSITIVE 8CT</c:v>
                  </c:pt>
                  <c:pt idx="7">
                    <c:v>BIC FLEX 5 HYBRID BLACK WHITE HOLIDAY GIFT PACK 5 BLADE HYBRID NORMAL 7CT</c:v>
                  </c:pt>
                  <c:pt idx="8">
                    <c:v>HYDRO 5 SENSITIVE 5 BLADE REFILL SENSITIVE 12CT</c:v>
                  </c:pt>
                  <c:pt idx="9">
                    <c:v>GILLETTE LABS ARCTIC CAMO HOLIDAY GIFT PACK 5 BLADE RAZOR NORMAL 2CT</c:v>
                  </c:pt>
                  <c:pt idx="10">
                    <c:v>DOLLAR SHAVE CLUB BLACK 6 BLADE RAZOR NORMAL 2CT</c:v>
                  </c:pt>
                  <c:pt idx="11">
                    <c:v>GILLETTE FUSION 5 PROGLIDE 5 BLADE RAZOR NORMAL 4CT</c:v>
                  </c:pt>
                  <c:pt idx="12">
                    <c:v>DOLLAR SHAVE CLUB 6 BLADE REFILL NORMAL 4CT</c:v>
                  </c:pt>
                  <c:pt idx="13">
                    <c:v>BIC COMFORT 3 HYBRID 3 BLADE HYBRID SENSITIVE 6CT</c:v>
                  </c:pt>
                  <c:pt idx="14">
                    <c:v>BIC FLEX 5 WHITE BLACK HOLIDAY GIFT PACK 5 BLADE DISPOSABLE NORMAL 6CT</c:v>
                  </c:pt>
                  <c:pt idx="15">
                    <c:v>GILLETTE FUSION 5 5 BLADE RAZOR NORMAL 5CT</c:v>
                  </c:pt>
                  <c:pt idx="16">
                    <c:v>GILLETTE LABS 5 BLADE RAZOR NORMAL 1CT</c:v>
                  </c:pt>
                  <c:pt idx="17">
                    <c:v>BIC FLEX 3 3 BLADE DISPOSABLE NORMAL 2CT</c:v>
                  </c:pt>
                  <c:pt idx="18">
                    <c:v>EQUATE CALIBER 5 5 BLADE DISPOSABLE NORMAL 3CT</c:v>
                  </c:pt>
                  <c:pt idx="19">
                    <c:v>GILLETTE FUSION 5 5 BLADE REFILL NORMAL 8CT</c:v>
                  </c:pt>
                  <c:pt idx="20">
                    <c:v>EQUATE TB (TWIN BLADE) BLUE 2 BLADE DISPOSABLE NORMAL 5CT</c:v>
                  </c:pt>
                  <c:pt idx="21">
                    <c:v>SCHICK XTREME 3 SENSITIVE GREEN 3 BLADE DISPOSABLE SENSITIVE 8CT</c:v>
                  </c:pt>
                  <c:pt idx="22">
                    <c:v>GILLETTE MACH 3 3 BLADE REFILL NORMAL 12CT</c:v>
                  </c:pt>
                  <c:pt idx="23">
                    <c:v>GILLETTE LABS 5 BLADE REFILL NORMAL 6CT</c:v>
                  </c:pt>
                  <c:pt idx="24">
                    <c:v>HYDRO 5 SENSITIVE 5 BLADE RAZOR SENSITIVE 3CT</c:v>
                  </c:pt>
                  <c:pt idx="25">
                    <c:v>SCHICK XTREME 3 SENSITIVE BLACK 3 BLADE DISPOSABLE SENSITIVE 4CT</c:v>
                  </c:pt>
                  <c:pt idx="26">
                    <c:v>SCHICK XTREME 2 SENSITIVE 2 BLADE DISPOSABLE NORMAL 12CT</c:v>
                  </c:pt>
                  <c:pt idx="27">
                    <c:v>DOLLAR SHAVE CLUB 6 BLADE REFILL NORMAL 8CT</c:v>
                  </c:pt>
                  <c:pt idx="28">
                    <c:v>GILLETTE MACH 3 3 BLADE DISPOSABLE SENSITIVE 6CT</c:v>
                  </c:pt>
                  <c:pt idx="29">
                    <c:v>GILLETTE FUSION 5 5 BLADE RAZOR NORMAL 1CT</c:v>
                  </c:pt>
                  <c:pt idx="30">
                    <c:v>HARRY'S 5 BLADE REFILL NORMAL 4CT</c:v>
                  </c:pt>
                  <c:pt idx="31">
                    <c:v>GILLETTE LABS 5 BLADE RAZOR NORMAL 4CT</c:v>
                  </c:pt>
                  <c:pt idx="32">
                    <c:v>SCHICK XTREME 3 SENSITIVE BLACK GREEN 3 BLADE DISPOSABLE SENSITIVE 12CT</c:v>
                  </c:pt>
                  <c:pt idx="33">
                    <c:v>GILLETTE FUSION 5 PROSHIELD GRAY 5 BLADE RAZOR NORMAL 2CT</c:v>
                  </c:pt>
                  <c:pt idx="34">
                    <c:v>EQUATE EASY FIT 5 5 BLADE REFILL NORMAL 8CT</c:v>
                  </c:pt>
                  <c:pt idx="35">
                    <c:v>GILLETTE LABS 5 BLADE RAZOR NORMAL 2CT</c:v>
                  </c:pt>
                  <c:pt idx="36">
                    <c:v>GILLETTE FUSION 5 PROGLIDE STYLER REM BLADES RAZOR 1CT</c:v>
                  </c:pt>
                  <c:pt idx="37">
                    <c:v>GILLETTE MACH 3 3 BLADE RAZOR NORMAL 2CT</c:v>
                  </c:pt>
                  <c:pt idx="38">
                    <c:v>GILLETTE FUSION 5 5 BLADE RAZOR NORMAL 2CT</c:v>
                  </c:pt>
                  <c:pt idx="39">
                    <c:v>BIC FLEX 5 HYBRID 5 BLADE HYBRID NORMAL 4CT</c:v>
                  </c:pt>
                  <c:pt idx="40">
                    <c:v>GILLETTE FUSION 5 5 BLADE RAZOR NORMAL 7CT</c:v>
                  </c:pt>
                  <c:pt idx="41">
                    <c:v>BIC EASYRINSE BLUE 4 BLADE DISPOSABLE NORMAL 2CT</c:v>
                  </c:pt>
                  <c:pt idx="42">
                    <c:v>GILLETTE FUSION 5 PROGLIDE 5 BLADE RAZOR NORMAL 1CT</c:v>
                  </c:pt>
                  <c:pt idx="43">
                    <c:v>BIC FLEX 5 BLACK WHITE 5 BLADE DISPOSABLE NORMAL 2CT</c:v>
                  </c:pt>
                  <c:pt idx="44">
                    <c:v>GILLETTE INTIMATE BLACK 5 BLADE RAZOR NORMAL 2CT</c:v>
                  </c:pt>
                  <c:pt idx="45">
                    <c:v>BIC EASYRINSE 4 BLADE HYBRID NORMAL 3CT</c:v>
                  </c:pt>
                  <c:pt idx="46">
                    <c:v>GILLETTE FUSION 5 PROGLIDE 5 BLADE RAZOR NORMAL 2CT</c:v>
                  </c:pt>
                  <c:pt idx="47">
                    <c:v>EQUATE EASY FIT 5 5 BLADE REFILL NORMAL 4CT</c:v>
                  </c:pt>
                  <c:pt idx="48">
                    <c:v>HARRY'S 5 BLADE REFILL NORMAL 8CT</c:v>
                  </c:pt>
                  <c:pt idx="49">
                    <c:v>GILLETTE MACH 3 3 BLADE REFILL NORMAL 8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Equate</c:v>
                </c:pt>
                <c:pt idx="4">
                  <c:v>Schick</c:v>
                </c:pt>
                <c:pt idx="5">
                  <c:v>Dollar Shave Club</c:v>
                </c:pt>
              </c:strCache>
            </c:strRef>
          </c:cat>
          <c:val>
            <c:numRef>
              <c:f>Sheet1!$B$2:$B$7</c:f>
              <c:numCache>
                <c:formatCode>General</c:formatCode>
                <c:ptCount val="6"/>
                <c:pt idx="0">
                  <c:v>0.63660508691021123</c:v>
                </c:pt>
                <c:pt idx="1">
                  <c:v>0.76728058932798959</c:v>
                </c:pt>
                <c:pt idx="2">
                  <c:v>0.21534982182334902</c:v>
                </c:pt>
                <c:pt idx="3">
                  <c:v>0.4800599895758938</c:v>
                </c:pt>
                <c:pt idx="4">
                  <c:v>0.4936541585792204</c:v>
                </c:pt>
                <c:pt idx="5">
                  <c:v>0.4662158204314625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Equate</c:v>
                </c:pt>
                <c:pt idx="4">
                  <c:v>Schick</c:v>
                </c:pt>
                <c:pt idx="5">
                  <c:v>Dollar Shave Club</c:v>
                </c:pt>
              </c:strCache>
            </c:strRef>
          </c:cat>
          <c:val>
            <c:numRef>
              <c:f>Sheet1!$C$2:$C$7</c:f>
              <c:numCache>
                <c:formatCode>General</c:formatCode>
                <c:ptCount val="6"/>
                <c:pt idx="0">
                  <c:v>0.36339491308978877</c:v>
                </c:pt>
                <c:pt idx="1">
                  <c:v>0.23271941067201041</c:v>
                </c:pt>
                <c:pt idx="2">
                  <c:v>0.78465017817665095</c:v>
                </c:pt>
                <c:pt idx="3">
                  <c:v>0.5199400104241062</c:v>
                </c:pt>
                <c:pt idx="4">
                  <c:v>0.50634584142077954</c:v>
                </c:pt>
                <c:pt idx="5">
                  <c:v>0.533784179568537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Schick</c:v>
                </c:pt>
                <c:pt idx="4">
                  <c:v>Dollar Shave Club</c:v>
                </c:pt>
                <c:pt idx="5">
                  <c:v>Equate</c:v>
                </c:pt>
              </c:strCache>
            </c:strRef>
          </c:cat>
          <c:val>
            <c:numRef>
              <c:f>Sheet1!$B$2:$B$7</c:f>
              <c:numCache>
                <c:formatCode>General</c:formatCode>
                <c:ptCount val="6"/>
                <c:pt idx="0">
                  <c:v>0.42881235493349873</c:v>
                </c:pt>
                <c:pt idx="1">
                  <c:v>0.76754734284444692</c:v>
                </c:pt>
                <c:pt idx="2">
                  <c:v>4.1633451649207863E-2</c:v>
                </c:pt>
                <c:pt idx="3">
                  <c:v>0.41235092560402192</c:v>
                </c:pt>
                <c:pt idx="4">
                  <c:v>0.89192701516189044</c:v>
                </c:pt>
                <c:pt idx="5">
                  <c:v>0.2295739864169582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Schick</c:v>
                </c:pt>
                <c:pt idx="4">
                  <c:v>Dollar Shave Club</c:v>
                </c:pt>
                <c:pt idx="5">
                  <c:v>Equate</c:v>
                </c:pt>
              </c:strCache>
            </c:strRef>
          </c:cat>
          <c:val>
            <c:numRef>
              <c:f>Sheet1!$C$2:$C$7</c:f>
              <c:numCache>
                <c:formatCode>General</c:formatCode>
                <c:ptCount val="6"/>
                <c:pt idx="0">
                  <c:v>0.57118764506650122</c:v>
                </c:pt>
                <c:pt idx="1">
                  <c:v>0.23245265715555308</c:v>
                </c:pt>
                <c:pt idx="2">
                  <c:v>0.95836654835079216</c:v>
                </c:pt>
                <c:pt idx="3">
                  <c:v>0.58764907439597813</c:v>
                </c:pt>
                <c:pt idx="4">
                  <c:v>0.10807298483810956</c:v>
                </c:pt>
                <c:pt idx="5">
                  <c:v>0.7704260135830417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B$2:$B$5</c:f>
              <c:numCache>
                <c:formatCode>General</c:formatCode>
                <c:ptCount val="4"/>
                <c:pt idx="0">
                  <c:v>0.7142081559974458</c:v>
                </c:pt>
                <c:pt idx="1">
                  <c:v>0.91863050166626214</c:v>
                </c:pt>
                <c:pt idx="2">
                  <c:v>0.1348771711615597</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C$2:$C$5</c:f>
              <c:numCache>
                <c:formatCode>General</c:formatCode>
                <c:ptCount val="4"/>
                <c:pt idx="0">
                  <c:v>0.2857918440025542</c:v>
                </c:pt>
                <c:pt idx="1">
                  <c:v>8.1369498333737855E-2</c:v>
                </c:pt>
                <c:pt idx="2">
                  <c:v>0.86512282883844027</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B$2:$B$5</c:f>
              <c:numCache>
                <c:formatCode>General</c:formatCode>
                <c:ptCount val="4"/>
                <c:pt idx="0">
                  <c:v>0.7142081559974458</c:v>
                </c:pt>
                <c:pt idx="1">
                  <c:v>0.91863050166626214</c:v>
                </c:pt>
                <c:pt idx="2">
                  <c:v>0.1348771711615597</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C$2:$C$5</c:f>
              <c:numCache>
                <c:formatCode>General</c:formatCode>
                <c:ptCount val="4"/>
                <c:pt idx="0">
                  <c:v>0.2857918440025542</c:v>
                </c:pt>
                <c:pt idx="1">
                  <c:v>8.1369498333737855E-2</c:v>
                </c:pt>
                <c:pt idx="2">
                  <c:v>0.86512282883844027</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Harry's</c:v>
                </c:pt>
                <c:pt idx="2">
                  <c:v>Dollar Shave Club</c:v>
                </c:pt>
                <c:pt idx="3">
                  <c:v>Equate</c:v>
                </c:pt>
              </c:strCache>
            </c:strRef>
          </c:cat>
          <c:val>
            <c:numRef>
              <c:f>Sheet1!$B$2:$B$5</c:f>
              <c:numCache>
                <c:formatCode>General</c:formatCode>
                <c:ptCount val="4"/>
                <c:pt idx="0">
                  <c:v>0.42474603711793024</c:v>
                </c:pt>
                <c:pt idx="1">
                  <c:v>0.61019626426568729</c:v>
                </c:pt>
                <c:pt idx="2">
                  <c:v>0.999862146709253</c:v>
                </c:pt>
                <c:pt idx="3">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Harry's</c:v>
                </c:pt>
                <c:pt idx="2">
                  <c:v>Dollar Shave Club</c:v>
                </c:pt>
                <c:pt idx="3">
                  <c:v>Equate</c:v>
                </c:pt>
              </c:strCache>
            </c:strRef>
          </c:cat>
          <c:val>
            <c:numRef>
              <c:f>Sheet1!$C$2:$C$5</c:f>
              <c:numCache>
                <c:formatCode>General</c:formatCode>
                <c:ptCount val="4"/>
                <c:pt idx="0">
                  <c:v>0.57525396288206976</c:v>
                </c:pt>
                <c:pt idx="1">
                  <c:v>0.38980373573431271</c:v>
                </c:pt>
                <c:pt idx="2">
                  <c:v>1.3785329074700314E-4</c:v>
                </c:pt>
                <c:pt idx="3">
                  <c:v>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Harry's</c:v>
                </c:pt>
                <c:pt idx="2">
                  <c:v>Schick</c:v>
                </c:pt>
                <c:pt idx="3">
                  <c:v>Dollar Shave Club</c:v>
                </c:pt>
                <c:pt idx="4">
                  <c:v>Equate</c:v>
                </c:pt>
              </c:strCache>
            </c:strRef>
          </c:cat>
          <c:val>
            <c:numRef>
              <c:f>Sheet1!$B$2:$B$6</c:f>
              <c:numCache>
                <c:formatCode>General</c:formatCode>
                <c:ptCount val="5"/>
                <c:pt idx="0">
                  <c:v>2.6621773530429296E-2</c:v>
                </c:pt>
                <c:pt idx="1">
                  <c:v>0.64038562250595621</c:v>
                </c:pt>
                <c:pt idx="2">
                  <c:v>0.60644332995260775</c:v>
                </c:pt>
                <c:pt idx="3">
                  <c:v>0.79763035568945795</c:v>
                </c:pt>
                <c:pt idx="4">
                  <c:v>0.2715122272492984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Harry's</c:v>
                </c:pt>
                <c:pt idx="2">
                  <c:v>Schick</c:v>
                </c:pt>
                <c:pt idx="3">
                  <c:v>Dollar Shave Club</c:v>
                </c:pt>
                <c:pt idx="4">
                  <c:v>Equate</c:v>
                </c:pt>
              </c:strCache>
            </c:strRef>
          </c:cat>
          <c:val>
            <c:numRef>
              <c:f>Sheet1!$C$2:$C$6</c:f>
              <c:numCache>
                <c:formatCode>General</c:formatCode>
                <c:ptCount val="5"/>
                <c:pt idx="0">
                  <c:v>0.97337822646957073</c:v>
                </c:pt>
                <c:pt idx="1">
                  <c:v>0.35961437749404379</c:v>
                </c:pt>
                <c:pt idx="2">
                  <c:v>0.39355667004739225</c:v>
                </c:pt>
                <c:pt idx="3">
                  <c:v>0.20236964431054205</c:v>
                </c:pt>
                <c:pt idx="4">
                  <c:v>0.7284877727507015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fld id="{A6DB9900-C99B-462B-B284-3FC7EF91A1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A1345B07-FA57-4393-A254-D75224CB69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1F013115-9772-4D90-A650-1C6D347C7C1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5EAB1B5E-B80E-4489-A6BC-FE7BD7206C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8881F487-0A3E-463D-89F0-40159A3F9B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4125EEE5-03C1-4F06-BA51-FB6AAF3BDE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2592820A-7B30-4EF2-99B6-CD2C3EE1D4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0798DF6F-2C15-412A-8649-CB1FDED86E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A6AC9B83-BFE1-4AFF-9055-7EB8F6F32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3513BC3-9AD1-47F7-B912-9DE936D8FE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C2F35FAE-C153-4ECA-9E18-CA33FFED3D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965381A4-C9B5-4C26-A362-30A2218848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56AF064E-191C-4F67-9DE5-7B1D02A45B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ADF51C51-0945-4F46-A4F2-2F3AF88D7C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5B33DC28-EDEC-41AC-A0D9-3FA949D08E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AE18D6D0-9BC7-40A0-9FCE-F737CCCB0E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26C17BD5-42DE-45D0-ADD2-01264795EE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0ADA6EAB-455F-4D62-9A0E-7C0FB8ED46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F6477B37-BB04-450C-ADE1-E588B8E4F6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6F066D12-568B-4F7A-88E5-48C2FD3483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73B57E76-74E1-4502-974C-163268BECF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74DE966F-08C8-4522-8B7D-1BA4C4E2FF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236E3D23-05D2-4821-9AF7-FFADF1DA58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FD9F798E-AE4F-475F-AA9C-E30216459E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31AEC8AF-BC72-4185-895D-567B8FC988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D68998B8-3E14-449C-8113-74C20D2B97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5F83B174-6A9C-4EE6-8F69-6AD1EA42BB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4E86D5C7-3408-44FD-9C12-A094AF865F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1E17979E-28CF-4C5B-B4CF-3564AA3263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31BC9454-A118-4618-8E08-37E88E3262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ED64CFAB-FA61-479A-9C1D-599F1375B0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F8B7C8CD-6817-4F39-80A0-BB1742538A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D8AF7635-3F6C-42EF-9C11-8DC00068BF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FF36AA1A-885E-4AC8-AF6E-02B2EEC6C2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8BF06121-F489-48AD-B690-5C36A573EB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E3DF2D74-F1C1-4F96-8EB7-185F897283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1261AC88-1C6C-49DE-BDA3-BA7D4B6CF3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2FF9E9B4-331D-43D6-AB66-F5E372E7D3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1</c:v>
                </c:pt>
                <c:pt idx="1">
                  <c:v>0.1</c:v>
                </c:pt>
                <c:pt idx="2">
                  <c:v>0.09</c:v>
                </c:pt>
                <c:pt idx="3">
                  <c:v>0.15</c:v>
                </c:pt>
                <c:pt idx="4">
                  <c:v>0.16</c:v>
                </c:pt>
                <c:pt idx="5">
                  <c:v>0.15</c:v>
                </c:pt>
                <c:pt idx="6">
                  <c:v>0.63</c:v>
                </c:pt>
                <c:pt idx="7">
                  <c:v>0.32</c:v>
                </c:pt>
                <c:pt idx="8">
                  <c:v>0.18</c:v>
                </c:pt>
                <c:pt idx="9">
                  <c:v>0.09</c:v>
                </c:pt>
              </c:numCache>
            </c:numRef>
          </c:xVal>
          <c:yVal>
            <c:numRef>
              <c:f>Sheet1!$B$2:$B$11</c:f>
              <c:numCache>
                <c:formatCode>General</c:formatCode>
                <c:ptCount val="10"/>
                <c:pt idx="0">
                  <c:v>0.41971844948119458</c:v>
                </c:pt>
                <c:pt idx="1">
                  <c:v>0.32321333425762577</c:v>
                </c:pt>
                <c:pt idx="2">
                  <c:v>0.23920180796808771</c:v>
                </c:pt>
                <c:pt idx="3">
                  <c:v>0.49380320527335569</c:v>
                </c:pt>
                <c:pt idx="4">
                  <c:v>0.57084878338506662</c:v>
                </c:pt>
                <c:pt idx="5">
                  <c:v>0.81179470441236323</c:v>
                </c:pt>
                <c:pt idx="6">
                  <c:v>0.83772084414568115</c:v>
                </c:pt>
                <c:pt idx="7">
                  <c:v>0.883084064382609</c:v>
                </c:pt>
                <c:pt idx="8">
                  <c:v>1.5836045021710721</c:v>
                </c:pt>
                <c:pt idx="9">
                  <c:v>7.4577739281074057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FUSION 5 PROGLIDE 5 BLADE RAZOR NORMAL 13CT</c:v>
                  </c:pt>
                  <c:pt idx="3">
                    <c:v>GILLETTE SKINGUARD POWER 2 BLADE REFILL SENSITIVE 13CT</c:v>
                  </c:pt>
                  <c:pt idx="4">
                    <c:v>GILLETTE FUSION 5 5 BLADE RAZOR NORMAL 9CT</c:v>
                  </c:pt>
                  <c:pt idx="5">
                    <c:v>HARRY'S ORANGE 5 BLADE RAZOR NORMAL 11CT</c:v>
                  </c:pt>
                  <c:pt idx="6">
                    <c:v>GILLETTE INTIMATE BLACK 5 BLADE RAZOR 9CT</c:v>
                  </c:pt>
                  <c:pt idx="7">
                    <c:v>GILLETTE FUSION 5 PROGLIDE 5 BLADE REFILL NORMAL 15CT</c:v>
                  </c:pt>
                  <c:pt idx="8">
                    <c:v>GILLETTE LABS 5 BLADE RAZOR NORMAL 6CT</c:v>
                  </c:pt>
                  <c:pt idx="9">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5.9662191424859248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8803AAD5-ABB3-4E64-B8FD-B586858086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12C8D985-6CE4-404B-A932-2EE131F462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D71421E7-D53F-447E-8A71-497F3FFBED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EC6FF380-4988-4822-909D-A427D8EBD2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07F4ADEA-FB96-4850-9621-54BF4C93D3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07FC1236-7BD1-403B-B128-87DC2CC00F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E48AAC54-1F41-48C8-A2F7-C6474B13C1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CF4AA355-F4DA-4BB9-B5BF-7D63A8A6B2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5C943F84-7132-4F1B-A2B8-88F54D76A4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7DEBD255-0EB5-49A9-8446-398010EF9D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B24165BE-0562-4A96-A91C-A9704C387A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0644937B-B016-41A3-9A30-C7E8943CF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4B7F280-BDC7-4775-B490-10F04ED79B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AB9711E9-762C-4017-A1E8-117BA9A138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7AA4BE77-75C5-41BB-8DE7-7FEA01FC33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08B319FA-AEC0-4453-9F00-4C27AF58EB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480BEFB2-71C4-4F6F-88AD-F669376B34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5A533DB8-3A12-44D9-A75C-473D9B5E21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E91DCED0-3EC9-4A61-A290-6F83285802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8E8A9BE5-75F3-46BF-8410-5E213DA834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4FDADA7D-053B-48DB-B54E-E97BAC786A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97D67C7B-4D7C-4FF3-94E4-FEB5B0607E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15BCD65C-BEDC-4FC6-9127-6554C880CE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F2210B02-068E-4726-9D41-BFAD905211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4A72996A-BF5E-4900-842C-939C4AFAA8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A1287DE0-094A-42D6-AED6-22F2C46844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27D1A736-0A18-4E36-8959-5B3524CB89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E9BE6BA2-4FBC-4AB4-A12E-DB04B721EA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24F11841-2F66-4757-A6D5-F117FC7BA4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4A7CB5EE-7154-4962-8DDB-A58C1D0D7E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9F5AE932-0FB7-47EC-8564-15701F20B4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AF63DAC8-C108-4F47-A15A-1AF341C2C8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D66DD86B-1F04-4BAE-B464-E99E85B0C3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C30B94A0-B17A-43AA-9DE8-E0E538B4F2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73D48B02-FC87-484B-9611-DBB7C48DD9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DF340FDE-4FA7-4896-8D98-5443FE9AEC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8038F6F9-6F23-4FB2-B401-A079CABF36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8AE2C1B1-40C8-4039-9B74-D2A204B9CB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A98F5689-EDF8-4063-A7F9-1247ACBCD5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A375CF92-52E9-42FD-839C-A988CF72FD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7B4C5F73-B9F5-4882-89B4-062A104922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8</c:v>
                </c:pt>
                <c:pt idx="2">
                  <c:v>0.11</c:v>
                </c:pt>
                <c:pt idx="3">
                  <c:v>0.14000000000000001</c:v>
                </c:pt>
                <c:pt idx="4">
                  <c:v>0.14000000000000001</c:v>
                </c:pt>
                <c:pt idx="5">
                  <c:v>0.19</c:v>
                </c:pt>
                <c:pt idx="6">
                  <c:v>0.17</c:v>
                </c:pt>
              </c:numCache>
            </c:numRef>
          </c:xVal>
          <c:yVal>
            <c:numRef>
              <c:f>Sheet1!$B$2:$B$8</c:f>
              <c:numCache>
                <c:formatCode>General</c:formatCode>
                <c:ptCount val="7"/>
                <c:pt idx="0">
                  <c:v>0.36276214714860788</c:v>
                </c:pt>
                <c:pt idx="1">
                  <c:v>0.57638357247666672</c:v>
                </c:pt>
                <c:pt idx="2">
                  <c:v>0.64004334794386986</c:v>
                </c:pt>
                <c:pt idx="3">
                  <c:v>4.4079737091422273E-2</c:v>
                </c:pt>
                <c:pt idx="4">
                  <c:v>0.4457406191728599</c:v>
                </c:pt>
                <c:pt idx="5">
                  <c:v>0.6815896641199366</c:v>
                </c:pt>
                <c:pt idx="6">
                  <c:v>0.27030795344325897</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79075969439239"/>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BIC FLEX 5 HYBRID 5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FLEX 5 HYBRID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BIC COMFORT 3 HYBRID 3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E72-4E7F-82EC-FCAE97015949}"/>
                </c:ext>
              </c:extLst>
            </c:dLbl>
            <c:dLbl>
              <c:idx val="51"/>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E72-4E7F-82EC-FCAE97015949}"/>
                </c:ext>
              </c:extLst>
            </c:dLbl>
            <c:dLbl>
              <c:idx val="52"/>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E72-4E7F-82EC-FCAE97015949}"/>
                </c:ext>
              </c:extLst>
            </c:dLbl>
            <c:dLbl>
              <c:idx val="53"/>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E72-4E7F-82EC-FCAE97015949}"/>
                </c:ext>
              </c:extLst>
            </c:dLbl>
            <c:dLbl>
              <c:idx val="54"/>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E72-4E7F-82EC-FCAE97015949}"/>
                </c:ext>
              </c:extLst>
            </c:dLbl>
            <c:dLbl>
              <c:idx val="55"/>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E72-4E7F-82EC-FCAE97015949}"/>
                </c:ext>
              </c:extLst>
            </c:dLbl>
            <c:dLbl>
              <c:idx val="56"/>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E72-4E7F-82EC-FCAE97015949}"/>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8</c:f>
              <c:numCache>
                <c:formatCode>General</c:formatCode>
                <c:ptCount val="57"/>
                <c:pt idx="0">
                  <c:v>0.16</c:v>
                </c:pt>
                <c:pt idx="1">
                  <c:v>0.11</c:v>
                </c:pt>
                <c:pt idx="2">
                  <c:v>0.1</c:v>
                </c:pt>
                <c:pt idx="3">
                  <c:v>7.0000000000000007E-2</c:v>
                </c:pt>
                <c:pt idx="4">
                  <c:v>0.14000000000000001</c:v>
                </c:pt>
                <c:pt idx="5">
                  <c:v>0.14000000000000001</c:v>
                </c:pt>
                <c:pt idx="6">
                  <c:v>0.06</c:v>
                </c:pt>
                <c:pt idx="7">
                  <c:v>0.11</c:v>
                </c:pt>
                <c:pt idx="8">
                  <c:v>0.19</c:v>
                </c:pt>
                <c:pt idx="9">
                  <c:v>0.03</c:v>
                </c:pt>
                <c:pt idx="10">
                  <c:v>0.45</c:v>
                </c:pt>
                <c:pt idx="11">
                  <c:v>0.03</c:v>
                </c:pt>
                <c:pt idx="12">
                  <c:v>0.11</c:v>
                </c:pt>
                <c:pt idx="13">
                  <c:v>0.02</c:v>
                </c:pt>
                <c:pt idx="14">
                  <c:v>0.14000000000000001</c:v>
                </c:pt>
                <c:pt idx="15">
                  <c:v>0.04</c:v>
                </c:pt>
                <c:pt idx="16">
                  <c:v>0.35</c:v>
                </c:pt>
                <c:pt idx="17">
                  <c:v>0.1</c:v>
                </c:pt>
                <c:pt idx="18">
                  <c:v>0.12</c:v>
                </c:pt>
                <c:pt idx="19">
                  <c:v>0.04</c:v>
                </c:pt>
                <c:pt idx="20">
                  <c:v>0.39</c:v>
                </c:pt>
                <c:pt idx="21">
                  <c:v>0.01</c:v>
                </c:pt>
                <c:pt idx="22">
                  <c:v>0.47</c:v>
                </c:pt>
                <c:pt idx="23">
                  <c:v>0.47</c:v>
                </c:pt>
                <c:pt idx="24">
                  <c:v>0.39</c:v>
                </c:pt>
                <c:pt idx="25">
                  <c:v>0.46</c:v>
                </c:pt>
                <c:pt idx="26">
                  <c:v>0.54</c:v>
                </c:pt>
                <c:pt idx="27">
                  <c:v>0.28999999999999998</c:v>
                </c:pt>
                <c:pt idx="28">
                  <c:v>0.03</c:v>
                </c:pt>
                <c:pt idx="29">
                  <c:v>0.01</c:v>
                </c:pt>
                <c:pt idx="30">
                  <c:v>0.09</c:v>
                </c:pt>
                <c:pt idx="31">
                  <c:v>0.45</c:v>
                </c:pt>
                <c:pt idx="32">
                  <c:v>0.65</c:v>
                </c:pt>
                <c:pt idx="33">
                  <c:v>0.4</c:v>
                </c:pt>
                <c:pt idx="34">
                  <c:v>0.39</c:v>
                </c:pt>
                <c:pt idx="35">
                  <c:v>0.1</c:v>
                </c:pt>
                <c:pt idx="36">
                  <c:v>0.09</c:v>
                </c:pt>
                <c:pt idx="37">
                  <c:v>0.11</c:v>
                </c:pt>
                <c:pt idx="38">
                  <c:v>0.03</c:v>
                </c:pt>
                <c:pt idx="39">
                  <c:v>0.2</c:v>
                </c:pt>
                <c:pt idx="40">
                  <c:v>0.12</c:v>
                </c:pt>
                <c:pt idx="41">
                  <c:v>0.01</c:v>
                </c:pt>
                <c:pt idx="42">
                  <c:v>0.04</c:v>
                </c:pt>
                <c:pt idx="43">
                  <c:v>0.66</c:v>
                </c:pt>
                <c:pt idx="44">
                  <c:v>0.36</c:v>
                </c:pt>
                <c:pt idx="45">
                  <c:v>0.11</c:v>
                </c:pt>
                <c:pt idx="46">
                  <c:v>0.28000000000000003</c:v>
                </c:pt>
                <c:pt idx="47">
                  <c:v>0.12</c:v>
                </c:pt>
                <c:pt idx="48">
                  <c:v>0.54</c:v>
                </c:pt>
                <c:pt idx="49">
                  <c:v>0.26</c:v>
                </c:pt>
                <c:pt idx="50">
                  <c:v>0.08</c:v>
                </c:pt>
                <c:pt idx="51">
                  <c:v>0.18</c:v>
                </c:pt>
                <c:pt idx="52">
                  <c:v>0.16</c:v>
                </c:pt>
                <c:pt idx="53">
                  <c:v>0.14000000000000001</c:v>
                </c:pt>
                <c:pt idx="54">
                  <c:v>0.57999999999999996</c:v>
                </c:pt>
                <c:pt idx="55">
                  <c:v>0.08</c:v>
                </c:pt>
                <c:pt idx="56">
                  <c:v>0.01</c:v>
                </c:pt>
              </c:numCache>
            </c:numRef>
          </c:xVal>
          <c:yVal>
            <c:numRef>
              <c:f>Sheet1!$B$2:$B$58</c:f>
              <c:numCache>
                <c:formatCode>General</c:formatCode>
                <c:ptCount val="57"/>
                <c:pt idx="0">
                  <c:v>1.312053273286643</c:v>
                </c:pt>
                <c:pt idx="1">
                  <c:v>0.67602970542929453</c:v>
                </c:pt>
                <c:pt idx="2">
                  <c:v>0.28036068611811321</c:v>
                </c:pt>
                <c:pt idx="3">
                  <c:v>2.322914669885693E-2</c:v>
                </c:pt>
                <c:pt idx="4">
                  <c:v>1.15044401511685</c:v>
                </c:pt>
                <c:pt idx="5">
                  <c:v>0.45428332366686403</c:v>
                </c:pt>
                <c:pt idx="6">
                  <c:v>0.45219100593391298</c:v>
                </c:pt>
                <c:pt idx="7">
                  <c:v>8.8637819366076523E-2</c:v>
                </c:pt>
                <c:pt idx="8">
                  <c:v>1.313920192130057</c:v>
                </c:pt>
                <c:pt idx="9">
                  <c:v>0.15600012891003129</c:v>
                </c:pt>
                <c:pt idx="10">
                  <c:v>1.2051359733489531</c:v>
                </c:pt>
                <c:pt idx="11">
                  <c:v>5.2758507112676142E-2</c:v>
                </c:pt>
                <c:pt idx="12">
                  <c:v>0.2181542191916945</c:v>
                </c:pt>
                <c:pt idx="13">
                  <c:v>0</c:v>
                </c:pt>
                <c:pt idx="14">
                  <c:v>0.31284334569805361</c:v>
                </c:pt>
                <c:pt idx="15">
                  <c:v>0</c:v>
                </c:pt>
                <c:pt idx="16">
                  <c:v>0.37892159394589803</c:v>
                </c:pt>
                <c:pt idx="17">
                  <c:v>0.51540924912371144</c:v>
                </c:pt>
                <c:pt idx="18">
                  <c:v>0</c:v>
                </c:pt>
                <c:pt idx="19">
                  <c:v>2.5617209633611041E-2</c:v>
                </c:pt>
                <c:pt idx="20">
                  <c:v>0.60985348269802508</c:v>
                </c:pt>
                <c:pt idx="21">
                  <c:v>0</c:v>
                </c:pt>
                <c:pt idx="22">
                  <c:v>0.98571760573774991</c:v>
                </c:pt>
                <c:pt idx="23">
                  <c:v>1.2512478823607049</c:v>
                </c:pt>
                <c:pt idx="24">
                  <c:v>0.34438555153868777</c:v>
                </c:pt>
                <c:pt idx="25">
                  <c:v>0.95133552575640024</c:v>
                </c:pt>
                <c:pt idx="26">
                  <c:v>1.7794925098213989</c:v>
                </c:pt>
                <c:pt idx="27">
                  <c:v>0</c:v>
                </c:pt>
                <c:pt idx="28">
                  <c:v>0</c:v>
                </c:pt>
                <c:pt idx="29">
                  <c:v>0</c:v>
                </c:pt>
                <c:pt idx="30">
                  <c:v>0</c:v>
                </c:pt>
                <c:pt idx="31">
                  <c:v>0.39685483890510381</c:v>
                </c:pt>
                <c:pt idx="32">
                  <c:v>2.2987878695261892</c:v>
                </c:pt>
                <c:pt idx="33">
                  <c:v>0.53310328427430254</c:v>
                </c:pt>
                <c:pt idx="34">
                  <c:v>0.86440057806425596</c:v>
                </c:pt>
                <c:pt idx="35">
                  <c:v>2.1416509932592909E-3</c:v>
                </c:pt>
                <c:pt idx="36">
                  <c:v>0</c:v>
                </c:pt>
                <c:pt idx="37">
                  <c:v>0</c:v>
                </c:pt>
                <c:pt idx="38">
                  <c:v>0</c:v>
                </c:pt>
                <c:pt idx="39">
                  <c:v>0.44487523013291641</c:v>
                </c:pt>
                <c:pt idx="40">
                  <c:v>0</c:v>
                </c:pt>
                <c:pt idx="41">
                  <c:v>0</c:v>
                </c:pt>
                <c:pt idx="42">
                  <c:v>0</c:v>
                </c:pt>
                <c:pt idx="43">
                  <c:v>2.62605457765184</c:v>
                </c:pt>
                <c:pt idx="44">
                  <c:v>0</c:v>
                </c:pt>
                <c:pt idx="45">
                  <c:v>0</c:v>
                </c:pt>
                <c:pt idx="46">
                  <c:v>0</c:v>
                </c:pt>
                <c:pt idx="47">
                  <c:v>0</c:v>
                </c:pt>
                <c:pt idx="48">
                  <c:v>0.47877352484274333</c:v>
                </c:pt>
                <c:pt idx="49">
                  <c:v>0</c:v>
                </c:pt>
                <c:pt idx="50">
                  <c:v>0</c:v>
                </c:pt>
                <c:pt idx="51">
                  <c:v>0</c:v>
                </c:pt>
                <c:pt idx="52">
                  <c:v>0</c:v>
                </c:pt>
                <c:pt idx="53">
                  <c:v>0</c:v>
                </c:pt>
                <c:pt idx="54">
                  <c:v>0.7357053867086325</c:v>
                </c:pt>
                <c:pt idx="55">
                  <c:v>0</c:v>
                </c:pt>
                <c:pt idx="56">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BIC FLEX 5 HYBRID BLACK WHITE HOLIDAY GIFT PACK 5 BLADE HYBRID NORMAL 7CT</c:v>
                  </c:pt>
                  <c:pt idx="7">
                    <c:v>HYDRO 5 SENSITIVE 5 BLADE REFILL SENSITIVE 12CT</c:v>
                  </c:pt>
                  <c:pt idx="8">
                    <c:v>GILLETTE LABS ARCTIC CAMO HOLIDAY GIFT PACK 5 BLADE RAZOR NORMAL 2CT</c:v>
                  </c:pt>
                  <c:pt idx="9">
                    <c:v>DOLLAR SHAVE CLUB BLACK 6 BLADE RAZOR NORMAL 2CT</c:v>
                  </c:pt>
                  <c:pt idx="10">
                    <c:v>GILLETTE FUSION 5 PROGLIDE 5 BLADE RAZOR NORMAL 4CT</c:v>
                  </c:pt>
                  <c:pt idx="11">
                    <c:v>DOLLAR SHAVE CLUB 6 BLADE REFILL NORMAL 4CT</c:v>
                  </c:pt>
                  <c:pt idx="12">
                    <c:v>BIC COMFORT 3 HYBRID 3 BLADE HYBRID SENSITIVE 6CT</c:v>
                  </c:pt>
                  <c:pt idx="13">
                    <c:v>GILLETTE FUSION 5 5 BLADE RAZOR NORMAL 5CT</c:v>
                  </c:pt>
                  <c:pt idx="14">
                    <c:v>GILLETTE LABS 5 BLADE RAZOR NORMAL 1CT</c:v>
                  </c:pt>
                  <c:pt idx="15">
                    <c:v>GILLETTE FUSION 5 5 BLADE REFILL NORMAL 8CT</c:v>
                  </c:pt>
                  <c:pt idx="16">
                    <c:v>GILLETTE MACH 3 3 BLADE REFILL NORMAL 12CT</c:v>
                  </c:pt>
                  <c:pt idx="17">
                    <c:v>GILLETTE LABS 5 BLADE REFILL NORMAL 6CT</c:v>
                  </c:pt>
                  <c:pt idx="18">
                    <c:v>HYDRO 5 SENSITIVE 5 BLADE RAZOR SENSITIVE 3CT</c:v>
                  </c:pt>
                  <c:pt idx="19">
                    <c:v>DOLLAR SHAVE CLUB 6 BLADE REFILL NORMAL 8CT</c:v>
                  </c:pt>
                  <c:pt idx="20">
                    <c:v>GILLETTE FUSION 5 5 BLADE RAZOR NORMAL 1CT</c:v>
                  </c:pt>
                  <c:pt idx="21">
                    <c:v>HARRY'S 5 BLADE REFILL NORMAL 4CT</c:v>
                  </c:pt>
                  <c:pt idx="22">
                    <c:v>GILLETTE LABS 5 BLADE RAZOR NORMAL 4CT</c:v>
                  </c:pt>
                  <c:pt idx="23">
                    <c:v>GILLETTE FUSION 5 PROSHIELD GRAY 5 BLADE RAZOR NORMAL 2CT</c:v>
                  </c:pt>
                  <c:pt idx="24">
                    <c:v>EQUATE EASY FIT 5 5 BLADE REFILL NORMAL 8CT</c:v>
                  </c:pt>
                  <c:pt idx="25">
                    <c:v>GILLETTE LABS 5 BLADE RAZOR NORMAL 2CT</c:v>
                  </c:pt>
                  <c:pt idx="26">
                    <c:v>GILLETTE FUSION 5 PROGLIDE STYLER REM BLADES RAZOR 1CT</c:v>
                  </c:pt>
                  <c:pt idx="27">
                    <c:v>GILLETTE MACH 3 3 BLADE RAZOR NORMAL 2CT</c:v>
                  </c:pt>
                  <c:pt idx="28">
                    <c:v>GILLETTE FUSION 5 5 BLADE RAZOR NORMAL 2CT</c:v>
                  </c:pt>
                  <c:pt idx="29">
                    <c:v>BIC FLEX 5 HYBRID 5 BLADE HYBRID NORMAL 4CT</c:v>
                  </c:pt>
                  <c:pt idx="30">
                    <c:v>GILLETTE FUSION 5 5 BLADE RAZOR NORMAL 7CT</c:v>
                  </c:pt>
                  <c:pt idx="31">
                    <c:v>GILLETTE FUSION 5 PROGLIDE 5 BLADE RAZOR NORMAL 1CT</c:v>
                  </c:pt>
                  <c:pt idx="32">
                    <c:v>GILLETTE INTIMATE BLACK 5 BLADE RAZOR NORMAL 2CT</c:v>
                  </c:pt>
                  <c:pt idx="33">
                    <c:v>BIC EASYRINSE 4 BLADE HYBRID NORMAL 3CT</c:v>
                  </c:pt>
                  <c:pt idx="34">
                    <c:v>GILLETTE FUSION 5 PROGLIDE 5 BLADE RAZOR NORMAL 2CT</c:v>
                  </c:pt>
                  <c:pt idx="35">
                    <c:v>EQUATE EASY FIT 5 5 BLADE REFILL NORMAL 4CT</c:v>
                  </c:pt>
                  <c:pt idx="36">
                    <c:v>HARRY'S 5 BLADE REFILL NORMAL 8CT</c:v>
                  </c:pt>
                  <c:pt idx="37">
                    <c:v>GILLETTE MACH 3 3 BLADE REFILL NORMAL 8CT</c:v>
                  </c:pt>
                  <c:pt idx="38">
                    <c:v>HARRY'S SURF BLUE 5 BLADE RAZOR NORMAL 2CT</c:v>
                  </c:pt>
                  <c:pt idx="39">
                    <c:v>EQUATE EASY FIT 5 5 BLADE REFILL NORMAL 12CT</c:v>
                  </c:pt>
                  <c:pt idx="40">
                    <c:v>EQUATE EASY FIT 5 5 BLADE RAZOR NORMAL 2CT</c:v>
                  </c:pt>
                  <c:pt idx="41">
                    <c:v>HARRY'S SILVER 5 BLADE RAZOR NORMAL 5CT</c:v>
                  </c:pt>
                  <c:pt idx="42">
                    <c:v>GILLETTE FUSION 5 5 BLADE REFILL NORMAL 4CT</c:v>
                  </c:pt>
                  <c:pt idx="43">
                    <c:v>GILLETTE INTIMATE 5 BLADE REFILL NORMAL 4CT</c:v>
                  </c:pt>
                  <c:pt idx="44">
                    <c:v>BIC FLEX 5 HYBRID 5 BLADE HYBRID NORMAL 12CT</c:v>
                  </c:pt>
                  <c:pt idx="45">
                    <c:v>BIC FLEX 5 HYBRID 5 BLADE HYBRID NORMAL 7CT</c:v>
                  </c:pt>
                  <c:pt idx="46">
                    <c:v>GILLETTE FUSION 5 5 BLADE REFILL NORMAL 12CT</c:v>
                  </c:pt>
                  <c:pt idx="47">
                    <c:v>HARRY'S 5 BLADE REFILL NORMAL 12CT</c:v>
                  </c:pt>
                  <c:pt idx="48">
                    <c:v>GILLETTE SKINGUARD 2 BLADE REFILL SENSITIVE 8CT</c:v>
                  </c:pt>
                  <c:pt idx="49">
                    <c:v>BIC COMFORT 3 HYBRID 3 BLADE HYBRID NORMAL 1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0E39181F-C1DE-477F-8645-21ECB66FA0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32732B91-BDC6-44ED-BBF3-F97215A86F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A4669E32-25DD-431F-A371-133FF29149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77450668-9CF2-4D4D-9670-B03D8546F8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BD37CE01-1A50-45AC-8BC2-F367900D7C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5A3E0CFD-2A5C-49CE-8D89-C49004FCC1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9E55D86D-F6CC-4246-9364-71D197E4A9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84855CC3-9D6A-4B16-895A-43ED01D206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B7B51C0D-11E0-4C62-817F-38549B48E7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32DFF08A-E62E-47C5-97B1-4D0268926B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CFBA1C9D-84C4-471E-99B9-689557E50E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EAC5453B-EB57-4022-A06C-83B12C88B0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5DFCD4A8-5264-406E-8579-CCA181D4F1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4BA78969-982B-4C3E-A49C-C59B9FA402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988BC8D1-BA2F-4C83-9DF3-1E59DF803D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A2109181-CF9B-4483-956E-95FD7A4117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BAAE9F2F-F9A9-4ED4-921E-C56B5CB385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A816ABBC-29F0-46F7-AD13-4EE94A7120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0F01B725-0756-46E8-979A-40EEF29C8B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27A375E0-BB0D-469E-A787-584D2D14FE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EFC149B8-A50B-4B6E-BC71-DAF09291BC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D81700F4-46CF-44EF-9123-8FD0ECCE37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38B52A7C-2911-418F-B83B-7F41178EBE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91679313854690692</c:v>
                </c:pt>
                <c:pt idx="1">
                  <c:v>0.36596438157955558</c:v>
                </c:pt>
                <c:pt idx="2">
                  <c:v>0.24607902091034181</c:v>
                </c:pt>
                <c:pt idx="3">
                  <c:v>0</c:v>
                </c:pt>
                <c:pt idx="4">
                  <c:v>0.20391858358753209</c:v>
                </c:pt>
                <c:pt idx="5">
                  <c:v>0</c:v>
                </c:pt>
                <c:pt idx="6">
                  <c:v>0</c:v>
                </c:pt>
                <c:pt idx="7">
                  <c:v>0</c:v>
                </c:pt>
                <c:pt idx="8">
                  <c:v>9.6810902583398334E-2</c:v>
                </c:pt>
                <c:pt idx="9">
                  <c:v>0</c:v>
                </c:pt>
                <c:pt idx="10">
                  <c:v>2.2922743831121171</c:v>
                </c:pt>
                <c:pt idx="11">
                  <c:v>0</c:v>
                </c:pt>
                <c:pt idx="12">
                  <c:v>5.5183946488294312E-2</c:v>
                </c:pt>
                <c:pt idx="13">
                  <c:v>6.0135664931825483E-2</c:v>
                </c:pt>
                <c:pt idx="14">
                  <c:v>0.92898913951545525</c:v>
                </c:pt>
                <c:pt idx="15">
                  <c:v>0</c:v>
                </c:pt>
                <c:pt idx="16">
                  <c:v>-0.19122701483892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729259734539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033F1215-3499-491D-B8B4-08D278882B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D89F907F-7730-46EB-9F81-C83071EDF5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2A91710A-8FCF-4667-919C-2D3A244BEF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D60B4A5B-C3B7-4576-A35C-43783E2EFE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A4617859-317A-43CE-8FF0-9D3BDF1078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16F1A345-D203-4F02-8915-2E4C588AAD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B1E4D2DA-DDCD-4605-A87A-7971B608D5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1403A02F-932F-4B14-AF64-89EEB6452B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ACB42B20-6848-4488-8B60-4407FE0772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BBC0B320-1F98-421F-B89A-5B22D08D2F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718F5FCA-841F-44BC-9C3C-69ADCE04ED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9F6A6C8B-03B4-41C7-A636-437734CE5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E2F3D479-229B-49CE-BCA7-F0892780FB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AEC749CD-1D0C-4B09-9402-9276FDD612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0779710E-573B-4AC9-A859-832E2366C6F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6500417A-7947-4419-BB15-36F3B9E73F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A477A0BE-6CF6-4659-84C2-02DB0B615B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93BE6FF4-40D9-446A-9A1C-3BD34895D4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1331C627-314E-4C29-82DE-8530DF4337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5FDBE12C-7A68-4DE7-AC31-07E863D575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07E0337A-1888-4FD5-8A8F-A272F0B7BB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1BF38370-648E-4D53-A201-7E28EDD42E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9B47088C-44F5-4E1B-A9B0-81D71A17C1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D663FEEF-F54D-401E-8DA1-C44BA6EC8B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6117871B-0B64-44FE-B7F8-DE62163655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76C10F8B-DB75-4553-AF26-748BBFF7F9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7F05C8F3-F879-4710-A825-ADAFCF51CC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C22ECF39-F414-4957-A925-4314481E93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710B13EB-8389-47C2-A00B-C50F321B88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DE48EFDA-0966-46F9-AEAA-EBB11C683F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9331BF32-B511-4BFB-893D-AFD9903930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3403967D-63CD-49B4-9491-76438EAF96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E9B06080-1203-40DF-B8C0-31700F20A3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73D0DF31-344B-463B-8840-1C75FB867E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EAD84141-86E5-4B96-87A5-50F23560CD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E463495C-A1DF-4761-AE90-9E15F81E28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BC63C598-5D12-497F-8147-283516671A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67336591-6FA5-416D-AEBC-CC02066C0F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5CCBC97E-F97D-44F5-B47C-CEEB3485D7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D2A93CA6-4F00-4279-87A2-A2F3EB6F97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1460587C-6B00-433B-8166-838319731C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8</c:v>
                </c:pt>
                <c:pt idx="2">
                  <c:v>0.11</c:v>
                </c:pt>
                <c:pt idx="3">
                  <c:v>0.14000000000000001</c:v>
                </c:pt>
                <c:pt idx="4">
                  <c:v>0.14000000000000001</c:v>
                </c:pt>
                <c:pt idx="5">
                  <c:v>0.19</c:v>
                </c:pt>
                <c:pt idx="6">
                  <c:v>0.17</c:v>
                </c:pt>
              </c:numCache>
            </c:numRef>
          </c:xVal>
          <c:yVal>
            <c:numRef>
              <c:f>Sheet1!$B$2:$B$8</c:f>
              <c:numCache>
                <c:formatCode>General</c:formatCode>
                <c:ptCount val="7"/>
                <c:pt idx="0">
                  <c:v>0.36276214714860788</c:v>
                </c:pt>
                <c:pt idx="1">
                  <c:v>0.57638357247666672</c:v>
                </c:pt>
                <c:pt idx="2">
                  <c:v>0.64004334794386986</c:v>
                </c:pt>
                <c:pt idx="3">
                  <c:v>4.4079737091422273E-2</c:v>
                </c:pt>
                <c:pt idx="4">
                  <c:v>0.4457406191728599</c:v>
                </c:pt>
                <c:pt idx="5">
                  <c:v>0.6815896641199366</c:v>
                </c:pt>
                <c:pt idx="6">
                  <c:v>0.27030795344325897</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79075969439239"/>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17F3DD73-0271-4CD2-9C63-F6874019E7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88164200-206F-4F9B-8973-823C997961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E8CF7BBE-30D4-4089-95B0-F8D49F8B55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B32374D3-8DEE-4A40-BF99-ABB6A3E6D8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2C48D1C5-F089-4408-A0C2-C49BAD5236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0EE931AE-FA51-4694-91AF-770991A62B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E319D591-EBAA-4EA8-A86B-2CA4E8180D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31FA7A68-03C4-455D-8D2E-AA3ED2389B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F40EA5C3-FA7D-495C-BB20-908990EA68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DD30592D-D638-4B34-8325-DD71E0B55B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CD959995-57B7-49F3-93C4-F9181AB6FB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33ACE81F-4D55-4E5B-9666-8229C712DD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20058F6A-A46B-44FC-A903-5EA66F5A61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1589CBEB-C7A8-42B6-953C-4939D7D84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202E04EE-0F95-440D-8A58-20D5AE5EB5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E42A4C9A-CABE-4535-8A3D-945EF5E532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B69E0FC8-F8E7-408B-8C73-78F0B6ACB6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A5BF846A-875B-4E67-8714-D0246EF834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9181A69E-22CB-4006-A0BE-A94579C867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6548C733-3516-4681-B3BE-415B362C38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31C52E81-B4CA-4E2D-BA2F-99232AD012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A58A2F37-3D8E-4309-B2F7-7C6131ED46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E946D70B-CEBE-4A1F-9080-EBC9CDF529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9CD6EDB5-8275-4274-B413-D62D837639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B1C1AE59-B68B-470B-AB6D-BB9DBA903A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4724EE97-3118-4AF2-89F6-DFDC24E4A1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9057CA21-C0DA-423A-B0C1-E55A1F2A33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BCCA200E-64A1-494F-9EDE-A16C3D72B7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FC0A588E-A6FE-4D9A-99F9-9E57625004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D67E3A3D-C4B4-4760-8260-CA408C1937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666DD06B-E2E6-443F-BDDC-455A49EA1B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9108674C-B520-418D-B15E-00510AB1B5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24630AD8-34C3-492A-9753-9F2329280D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74023F7E-D16E-4D31-BCBA-FDA99174DE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3CDF411B-20F0-4FCD-9264-F54F401B54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EC72791C-E9B3-4B80-9A2A-7A1BACE0DA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B14B463C-1AF9-453F-B7AB-0227045A31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613967AC-CA7C-471A-A1B5-58916AFC4E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785FD1F5-EBF7-4A6F-BA99-491C9F6A5F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685AF785-C544-46B1-A130-735F5F4B50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6F4B1CA9-D5C6-4682-8CA3-D9D17F62E1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2F5316F0-14DF-4739-A021-93F874BC1B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C570AF09-5DDA-4C0E-B0B3-43B4E32EDD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09</c:v>
                </c:pt>
                <c:pt idx="1">
                  <c:v>0.16</c:v>
                </c:pt>
                <c:pt idx="2">
                  <c:v>0.15</c:v>
                </c:pt>
                <c:pt idx="3">
                  <c:v>0.63</c:v>
                </c:pt>
                <c:pt idx="4">
                  <c:v>0.18</c:v>
                </c:pt>
              </c:numCache>
            </c:numRef>
          </c:xVal>
          <c:yVal>
            <c:numRef>
              <c:f>Sheet1!$B$2:$B$6</c:f>
              <c:numCache>
                <c:formatCode>General</c:formatCode>
                <c:ptCount val="5"/>
                <c:pt idx="0">
                  <c:v>0.23920180796808771</c:v>
                </c:pt>
                <c:pt idx="1">
                  <c:v>0.57084878338506662</c:v>
                </c:pt>
                <c:pt idx="2">
                  <c:v>0.81179470441236323</c:v>
                </c:pt>
                <c:pt idx="3">
                  <c:v>0.83772084414568115</c:v>
                </c:pt>
                <c:pt idx="4">
                  <c:v>1.5836045021710721</c:v>
                </c:pt>
              </c:numCache>
            </c:numRef>
          </c:yVal>
          <c:smooth val="0"/>
          <c:extLst>
            <c:ext xmlns:c15="http://schemas.microsoft.com/office/drawing/2012/chart" uri="{02D57815-91ED-43cb-92C2-25804820EDAC}">
              <c15:datalabelsRange>
                <c15:f>Sheet1!$E$2:$E$51</c15:f>
                <c15:dlblRangeCache>
                  <c:ptCount val="50"/>
                  <c:pt idx="0">
                    <c:v>GILLETTE FUSION 5 PROGLIDE 5 BLADE RAZOR NORMAL 13CT</c:v>
                  </c:pt>
                  <c:pt idx="1">
                    <c:v>GILLETTE FUSION 5 5 BLADE RAZOR NORMAL 9CT</c:v>
                  </c:pt>
                  <c:pt idx="2">
                    <c:v>HARRY'S ORANGE 5 BLADE RAZOR NORMAL 11CT</c:v>
                  </c:pt>
                  <c:pt idx="3">
                    <c:v>GILLETTE INTIMATE BLACK 5 BLADE RAZOR 9CT</c:v>
                  </c:pt>
                  <c:pt idx="4">
                    <c:v>GILLETTE LABS 5 BLADE RAZOR NORMAL 6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0.19136144637447017"/>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B9BBDDD7-171E-437A-AF60-B47C25D931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852B791C-6359-430C-ABC5-2ECA131029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BFFBB785-7003-4890-86BD-4471C700A0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6F268F4F-F4E5-437F-8BCA-CB2CE4BA81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66577E6B-7A7D-42BD-97A1-3B9E873DEF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FB3C80D8-9B18-429E-B210-C60E32894F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E0845FDC-93B1-46D0-936E-B90C0FFE5D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FD18585E-C8DD-458E-A438-1380F66A41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9DD1EAAD-D55E-45C7-ABDC-15A5CCE6E2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019A4048-9A58-464A-BC33-07A8C66388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A3C56D9C-E0F1-4E61-8AD7-D7960ECCB1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EE3FED3F-263D-441E-91A1-27F2A68E96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3588B26E-84DB-4BC8-82EA-71E27E5B75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05B8DA94-5CF0-480F-8977-ECFB3EB64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D4DBFDC4-2730-4B88-AE20-871F08D31D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EDBB215D-29E4-4386-A32A-CDF2C60725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22714906-0385-4F20-8767-4AF9BE3A37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CE62012E-D362-4B9B-8162-35B8588456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F2E7B8F3-A589-42FB-A53A-3D88DFA2FC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FAE5A48D-47D1-4BF9-842A-3A3CD05177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3B03A5A0-78DC-4BDB-B56D-9103DBE270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C84C84A6-A1EE-4C96-BC83-2D2F8FC102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0A5614C5-9A35-43D1-ABE4-0ED0F5A30C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4EFE2A91-792D-4E7F-979C-68CA2588EA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62E0B761-A800-4694-9A8A-FED5FECE12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DF69DBA2-4334-4D36-8353-647842D78C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8DDE6851-9F64-4C45-8130-EDE98A151B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295644A0-51F0-4CA0-9C18-1ECBED61B7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989ED67A-9E4F-4CD4-845C-B5998BECA8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FA4DA072-760A-45C3-B2CF-8A84644FFA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A5D73DE4-4A50-400A-9644-63A4354D68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3CF42866-E711-4946-9A10-41A7F97F59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F7490517-FBD9-43AA-BDC7-583F77EF40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07B02A98-E505-445F-BAF3-CBCDC8B31D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F4634B2A-E83D-4E17-B755-BCA192C591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3DEC44BE-E076-45E9-B087-51A7DDC19E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A8ED26B4-DB2C-49DA-BC95-3EAE5D1841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A3738ED8-E122-4675-B9D7-6219A285E0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90C8EC7A-EF26-4773-9AB0-8B3C961080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DE565139-9CFC-4574-AC3B-6896DCBB01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011D8F25-0A2E-4259-A8DF-4B9397454E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C2832932-E6DC-4710-B103-C64FD2A52E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8D0D6041-7814-4C5D-840D-77606016B5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c:v>
                </c:pt>
                <c:pt idx="1">
                  <c:v>0.1</c:v>
                </c:pt>
                <c:pt idx="2">
                  <c:v>0.15</c:v>
                </c:pt>
                <c:pt idx="3">
                  <c:v>0.32</c:v>
                </c:pt>
                <c:pt idx="4">
                  <c:v>0.09</c:v>
                </c:pt>
              </c:numCache>
            </c:numRef>
          </c:xVal>
          <c:yVal>
            <c:numRef>
              <c:f>Sheet1!$B$2:$B$6</c:f>
              <c:numCache>
                <c:formatCode>General</c:formatCode>
                <c:ptCount val="5"/>
                <c:pt idx="0">
                  <c:v>0.41971844948119458</c:v>
                </c:pt>
                <c:pt idx="1">
                  <c:v>0.32321333425762577</c:v>
                </c:pt>
                <c:pt idx="2">
                  <c:v>0.49380320527335569</c:v>
                </c:pt>
                <c:pt idx="3">
                  <c:v>0.883084064382609</c:v>
                </c:pt>
                <c:pt idx="4">
                  <c:v>7.4577739281074057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KINGUARD POWER 2 BLADE REFILL SENSITIVE 13CT</c:v>
                  </c:pt>
                  <c:pt idx="3">
                    <c:v>GILLETTE FUSION 5 PROGLIDE 5 BLADE REFILL NORMAL 15CT</c:v>
                  </c:pt>
                  <c:pt idx="4">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84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597008772591308"/>
          <c:min val="5.9662191424859248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1.1233410174915606</c:v>
                </c:pt>
                <c:pt idx="1">
                  <c:v>20.833702869625981</c:v>
                </c:pt>
                <c:pt idx="2">
                  <c:v>2.0855384269140949</c:v>
                </c:pt>
                <c:pt idx="3">
                  <c:v>-0.7943759315237866</c:v>
                </c:pt>
                <c:pt idx="4">
                  <c:v>-0.9661556832305957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4F3F77BF-C7F8-4529-BCCC-8C416EBA25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354C2057-567E-4654-B594-4ADAF3E221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75E6CB67-B631-45C5-9094-01C96B93C6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CB95124D-0C01-4DDB-8DCA-26A4CAF1CB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EB7C036B-7AC0-4F3A-8690-81CDB9D8F5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2F33291D-0026-44A7-8C85-9A7269B011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65D877A4-232A-487F-99D0-13D34B05F6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B7151F25-9F1F-4ECE-95DA-80FD841EF4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7F94585E-B69B-40E9-8C25-B62B1C286B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2660990E-9303-47EA-ABE9-0B9EDF2E19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7974AEB1-C8A1-491E-A4D4-D1E3A5DD20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64D91E49-5523-4CF0-9F23-5074CC11A4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8E9800D0-C4F5-4AF7-B082-E503113B48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52E17086-239C-4982-94FA-3122BBA7AD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ADFFA0DD-F4EC-4026-8ADA-D9A0238A1C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1C112F13-6679-4FCE-B799-7362311E97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AA06B4A9-3A8F-46E4-9053-35B44CD6F8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BAA63CD7-86C5-4055-838F-536F744487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D3AAF1AD-7FE1-43B5-A3EE-2EF44333D9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7219F6AF-93E2-4E6D-9737-D120C48F03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77D7D28F-818D-486F-96BE-A4680037AD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77652195-D998-47F0-A0BA-74207E14E8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F66567AC-05BF-4DA4-B8AC-8BF4FA17D2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91679313854690692</c:v>
                </c:pt>
                <c:pt idx="1">
                  <c:v>0.36596438157955558</c:v>
                </c:pt>
                <c:pt idx="2">
                  <c:v>0.24607902091034181</c:v>
                </c:pt>
                <c:pt idx="3">
                  <c:v>0</c:v>
                </c:pt>
                <c:pt idx="4">
                  <c:v>0.20391858358753209</c:v>
                </c:pt>
                <c:pt idx="5">
                  <c:v>0</c:v>
                </c:pt>
                <c:pt idx="6">
                  <c:v>0</c:v>
                </c:pt>
                <c:pt idx="7">
                  <c:v>0</c:v>
                </c:pt>
                <c:pt idx="8">
                  <c:v>9.6810902583398334E-2</c:v>
                </c:pt>
                <c:pt idx="9">
                  <c:v>0</c:v>
                </c:pt>
                <c:pt idx="10">
                  <c:v>2.2922743831121171</c:v>
                </c:pt>
                <c:pt idx="11">
                  <c:v>0</c:v>
                </c:pt>
                <c:pt idx="12">
                  <c:v>5.5183946488294312E-2</c:v>
                </c:pt>
                <c:pt idx="13">
                  <c:v>6.0135664931825483E-2</c:v>
                </c:pt>
                <c:pt idx="14">
                  <c:v>0.92898913951545525</c:v>
                </c:pt>
                <c:pt idx="15">
                  <c:v>0</c:v>
                </c:pt>
                <c:pt idx="16">
                  <c:v>-0.19122701483892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729259734539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HARRY'S ORANGE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GILLETTE SKINGUARD 2 BLADE RAZOR SENSITIVE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DOLLAR SHAVE CLUB RED BLUE WHITE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fld id="{1B59F60D-B10C-49B1-83B0-EC31CFC89B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7A142573-142F-4751-B60E-0B0159107C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D6C77C41-69F2-4F19-908D-BB956E73DF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6F93B3F6-5F50-4033-A999-5A8732C82E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DA7FF36B-300A-49DA-982D-0B6BABC3F5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D06477F2-C781-49FD-9793-CAFE3A176E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E6244D24-C933-4A19-871F-C6BE9078CB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97C9B305-AC70-4D35-8B4A-E03B6B0208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D5801DEF-1197-4BCB-941A-3C44041D87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6E15FAA6-5735-42FE-9C14-2314DB36A0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831D2AD9-A1FB-4F7A-90C0-0B5FFD76D6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CC979AA9-D604-4933-8417-EFA44CC7B1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F69464AB-E6C4-4E5D-B0B7-A3D8B290C2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33003393-93F9-43B0-B9A0-D67374B54C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8EEB1EF4-A122-48FC-8025-D6DB32217F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65DB6A1A-FC32-4D0F-A1B3-EAECB0A990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5BCF8FCB-BF05-4E56-B426-D80E456A00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274B8672-959F-4D43-B56D-EAE5A4267A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511BC4A7-A7EE-4002-B221-1D4938C192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C4D5804E-2C3D-4678-B7F3-BAC4437284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D3CB365C-6B47-40D4-8010-E105F29120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B87567B4-FF65-4E3B-9F35-D32C4A2AC0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7</c:f>
              <c:numCache>
                <c:formatCode>General</c:formatCode>
                <c:ptCount val="26"/>
                <c:pt idx="0">
                  <c:v>0.16</c:v>
                </c:pt>
                <c:pt idx="1">
                  <c:v>0.14000000000000001</c:v>
                </c:pt>
                <c:pt idx="2">
                  <c:v>0.19</c:v>
                </c:pt>
                <c:pt idx="3">
                  <c:v>0.03</c:v>
                </c:pt>
                <c:pt idx="4">
                  <c:v>0.45</c:v>
                </c:pt>
                <c:pt idx="5">
                  <c:v>0.02</c:v>
                </c:pt>
                <c:pt idx="6">
                  <c:v>0.14000000000000001</c:v>
                </c:pt>
                <c:pt idx="7">
                  <c:v>0.12</c:v>
                </c:pt>
                <c:pt idx="8">
                  <c:v>0.39</c:v>
                </c:pt>
                <c:pt idx="9">
                  <c:v>0.47</c:v>
                </c:pt>
                <c:pt idx="10">
                  <c:v>0.47</c:v>
                </c:pt>
                <c:pt idx="11">
                  <c:v>0.46</c:v>
                </c:pt>
                <c:pt idx="12">
                  <c:v>0.54</c:v>
                </c:pt>
                <c:pt idx="13">
                  <c:v>0.28999999999999998</c:v>
                </c:pt>
                <c:pt idx="14">
                  <c:v>0.03</c:v>
                </c:pt>
                <c:pt idx="15">
                  <c:v>0.09</c:v>
                </c:pt>
                <c:pt idx="16">
                  <c:v>0.45</c:v>
                </c:pt>
                <c:pt idx="17">
                  <c:v>0.65</c:v>
                </c:pt>
                <c:pt idx="18">
                  <c:v>0.39</c:v>
                </c:pt>
                <c:pt idx="19">
                  <c:v>0.03</c:v>
                </c:pt>
                <c:pt idx="20">
                  <c:v>0.12</c:v>
                </c:pt>
                <c:pt idx="21">
                  <c:v>0.01</c:v>
                </c:pt>
                <c:pt idx="22">
                  <c:v>0.16</c:v>
                </c:pt>
                <c:pt idx="23">
                  <c:v>0.14000000000000001</c:v>
                </c:pt>
                <c:pt idx="24">
                  <c:v>0.08</c:v>
                </c:pt>
                <c:pt idx="25">
                  <c:v>0.01</c:v>
                </c:pt>
              </c:numCache>
            </c:numRef>
          </c:xVal>
          <c:yVal>
            <c:numRef>
              <c:f>Sheet1!$B$2:$B$27</c:f>
              <c:numCache>
                <c:formatCode>General</c:formatCode>
                <c:ptCount val="26"/>
                <c:pt idx="0">
                  <c:v>1.312053273286643</c:v>
                </c:pt>
                <c:pt idx="1">
                  <c:v>1.15044401511685</c:v>
                </c:pt>
                <c:pt idx="2">
                  <c:v>1.313920192130057</c:v>
                </c:pt>
                <c:pt idx="3">
                  <c:v>0.15600012891003129</c:v>
                </c:pt>
                <c:pt idx="4">
                  <c:v>1.2051359733489531</c:v>
                </c:pt>
                <c:pt idx="5">
                  <c:v>0</c:v>
                </c:pt>
                <c:pt idx="6">
                  <c:v>0.31284334569805361</c:v>
                </c:pt>
                <c:pt idx="7">
                  <c:v>0</c:v>
                </c:pt>
                <c:pt idx="8">
                  <c:v>0.60985348269802508</c:v>
                </c:pt>
                <c:pt idx="9">
                  <c:v>0.98571760573774991</c:v>
                </c:pt>
                <c:pt idx="10">
                  <c:v>1.2512478823607049</c:v>
                </c:pt>
                <c:pt idx="11">
                  <c:v>0.95133552575640024</c:v>
                </c:pt>
                <c:pt idx="12">
                  <c:v>1.7794925098213989</c:v>
                </c:pt>
                <c:pt idx="13">
                  <c:v>0</c:v>
                </c:pt>
                <c:pt idx="14">
                  <c:v>0</c:v>
                </c:pt>
                <c:pt idx="15">
                  <c:v>0</c:v>
                </c:pt>
                <c:pt idx="16">
                  <c:v>0.39685483890510381</c:v>
                </c:pt>
                <c:pt idx="17">
                  <c:v>2.2987878695261892</c:v>
                </c:pt>
                <c:pt idx="18">
                  <c:v>0.86440057806425596</c:v>
                </c:pt>
                <c:pt idx="19">
                  <c:v>0</c:v>
                </c:pt>
                <c:pt idx="20">
                  <c:v>0</c:v>
                </c:pt>
                <c:pt idx="21">
                  <c:v>0</c:v>
                </c:pt>
                <c:pt idx="22">
                  <c:v>0</c:v>
                </c:pt>
                <c:pt idx="23">
                  <c:v>0</c:v>
                </c:pt>
                <c:pt idx="24">
                  <c:v>0</c:v>
                </c:pt>
                <c:pt idx="25">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HYDRO 5 SENSITIVE GRAY HOLIDAY GIFT PACK 5 BLADE RAZOR SENSITIVE 3CT</c:v>
                  </c:pt>
                  <c:pt idx="2">
                    <c:v>GILLETTE LABS ARCTIC CAMO HOLIDAY GIFT PACK 5 BLADE RAZOR NORMAL 2CT</c:v>
                  </c:pt>
                  <c:pt idx="3">
                    <c:v>DOLLAR SHAVE CLUB BLACK 6 BLADE RAZOR NORMAL 2CT</c:v>
                  </c:pt>
                  <c:pt idx="4">
                    <c:v>GILLETTE FUSION 5 PROGLIDE 5 BLADE RAZOR NORMAL 4CT</c:v>
                  </c:pt>
                  <c:pt idx="5">
                    <c:v>GILLETTE FUSION 5 5 BLADE RAZOR NORMAL 5CT</c:v>
                  </c:pt>
                  <c:pt idx="6">
                    <c:v>GILLETTE LABS 5 BLADE RAZOR NORMAL 1CT</c:v>
                  </c:pt>
                  <c:pt idx="7">
                    <c:v>HYDRO 5 SENSITIVE 5 BLADE RAZOR SENSITIVE 3CT</c:v>
                  </c:pt>
                  <c:pt idx="8">
                    <c:v>GILLETTE FUSION 5 5 BLADE RAZOR NORMAL 1CT</c:v>
                  </c:pt>
                  <c:pt idx="9">
                    <c:v>GILLETTE LABS 5 BLADE RAZOR NORMAL 4CT</c:v>
                  </c:pt>
                  <c:pt idx="10">
                    <c:v>GILLETTE FUSION 5 PROSHIELD GRAY 5 BLADE RAZOR NORMAL 2CT</c:v>
                  </c:pt>
                  <c:pt idx="11">
                    <c:v>GILLETTE LABS 5 BLADE RAZOR NORMAL 2CT</c:v>
                  </c:pt>
                  <c:pt idx="12">
                    <c:v>GILLETTE FUSION 5 PROGLIDE STYLER REM BLADES RAZOR 1CT</c:v>
                  </c:pt>
                  <c:pt idx="13">
                    <c:v>GILLETTE MACH 3 3 BLADE RAZOR NORMAL 2CT</c:v>
                  </c:pt>
                  <c:pt idx="14">
                    <c:v>GILLETTE FUSION 5 5 BLADE RAZOR NORMAL 2CT</c:v>
                  </c:pt>
                  <c:pt idx="15">
                    <c:v>GILLETTE FUSION 5 5 BLADE RAZOR NORMAL 7CT</c:v>
                  </c:pt>
                  <c:pt idx="16">
                    <c:v>GILLETTE FUSION 5 PROGLIDE 5 BLADE RAZOR NORMAL 1CT</c:v>
                  </c:pt>
                  <c:pt idx="17">
                    <c:v>GILLETTE INTIMATE BLACK 5 BLADE RAZOR NORMAL 2CT</c:v>
                  </c:pt>
                  <c:pt idx="18">
                    <c:v>GILLETTE FUSION 5 PROGLIDE 5 BLADE RAZOR NORMAL 2CT</c:v>
                  </c:pt>
                  <c:pt idx="19">
                    <c:v>HARRY'S SURF BLUE 5 BLADE RAZOR NORMAL 2CT</c:v>
                  </c:pt>
                  <c:pt idx="20">
                    <c:v>EQUATE EASY FIT 5 5 BLADE RAZOR NORMAL 2CT</c:v>
                  </c:pt>
                  <c:pt idx="21">
                    <c:v>HARRY'S SILVER 5 BLADE RAZOR NORMAL 5CT</c:v>
                  </c:pt>
                  <c:pt idx="22">
                    <c:v>GILLETTE MACH 3 3 BLADE RAZOR NORMAL 6CT</c:v>
                  </c:pt>
                  <c:pt idx="23">
                    <c:v>HARRY'S ORANGE 5 BLADE RAZOR NORMAL 5CT</c:v>
                  </c:pt>
                  <c:pt idx="24">
                    <c:v>GILLETTE SKINGUARD 2 BLADE RAZOR SENSITIVE 2CT</c:v>
                  </c:pt>
                  <c:pt idx="25">
                    <c:v>DOLLAR SHAVE CLUB RED BLUE WHITE 6 BLADE RAZOR NORMAL 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8"/>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8545443431426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MACH 3 3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GILLETTE MACH 3 3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SCHICK HYDRO 3 SENSITIVE 3 BLADE REFILL SENSITIVE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fld id="{7B40047A-7CE9-42DE-A5CA-40F91FD67D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3FC6F3D8-38DA-4EF9-AD77-B6DF344C21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A40DB187-FB13-41FA-A331-B1124941C4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92877770-8306-4438-B732-9DAB778230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327D685E-35D0-4E4D-B87A-C4232D4C93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8EC116EB-11EC-4CD7-A953-912726CA12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B9C9A5D0-6499-4074-B136-0D7341BA93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B4488422-3CED-4537-A90B-A5AC961572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86C26664-CC42-4E3D-AA21-93141C57A2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EC1B4C78-5EAF-4307-A1DA-91E17BBB04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48A5E05F-26E1-4752-A836-5E7490160F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802E4059-C901-4456-B326-A196D89355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7A0CB6A4-462C-4F36-97B9-EE2BE7217D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D04AA2AE-250E-45FD-A1B6-64767688C3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18AA2F24-87B9-47A8-AC47-64EFCF3823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DEF127B7-E65E-46E7-96CD-6F2D3F76C0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B75E2624-E0C2-4811-B50B-D6EB98131D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C5A95D58-AF2C-4A19-BD6B-1A7E08019D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EC674038-6BD4-4DF8-9C0A-60F3CBE293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BAC0D187-A9DF-471F-9146-75AF9888FF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E9E38DE5-ADE3-4104-A9F0-DF46F91656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621A11A4-522B-4213-8C5D-9987FB6A30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8E3382EB-E889-4449-94AE-C85F3C0D93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1615C41A-5573-4CAB-902E-98787F4588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3CBE1FD5-D49D-49B3-B0D4-C064E94B37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0.1</c:v>
                </c:pt>
                <c:pt idx="1">
                  <c:v>7.0000000000000007E-2</c:v>
                </c:pt>
                <c:pt idx="2">
                  <c:v>0.14000000000000001</c:v>
                </c:pt>
                <c:pt idx="3">
                  <c:v>0.11</c:v>
                </c:pt>
                <c:pt idx="4">
                  <c:v>0.03</c:v>
                </c:pt>
                <c:pt idx="5">
                  <c:v>0.04</c:v>
                </c:pt>
                <c:pt idx="6">
                  <c:v>0.35</c:v>
                </c:pt>
                <c:pt idx="7">
                  <c:v>0.1</c:v>
                </c:pt>
                <c:pt idx="8">
                  <c:v>0.04</c:v>
                </c:pt>
                <c:pt idx="9">
                  <c:v>0.01</c:v>
                </c:pt>
                <c:pt idx="10">
                  <c:v>0.39</c:v>
                </c:pt>
                <c:pt idx="11">
                  <c:v>0.1</c:v>
                </c:pt>
                <c:pt idx="12">
                  <c:v>0.09</c:v>
                </c:pt>
                <c:pt idx="13">
                  <c:v>0.11</c:v>
                </c:pt>
                <c:pt idx="14">
                  <c:v>0.2</c:v>
                </c:pt>
                <c:pt idx="15">
                  <c:v>0.04</c:v>
                </c:pt>
                <c:pt idx="16">
                  <c:v>0.66</c:v>
                </c:pt>
                <c:pt idx="17">
                  <c:v>0.28000000000000003</c:v>
                </c:pt>
                <c:pt idx="18">
                  <c:v>0.12</c:v>
                </c:pt>
                <c:pt idx="19">
                  <c:v>0.54</c:v>
                </c:pt>
                <c:pt idx="20">
                  <c:v>0.08</c:v>
                </c:pt>
                <c:pt idx="21">
                  <c:v>0.18</c:v>
                </c:pt>
                <c:pt idx="22">
                  <c:v>0.57999999999999996</c:v>
                </c:pt>
              </c:numCache>
            </c:numRef>
          </c:xVal>
          <c:yVal>
            <c:numRef>
              <c:f>Sheet1!$B$2:$B$24</c:f>
              <c:numCache>
                <c:formatCode>General</c:formatCode>
                <c:ptCount val="23"/>
                <c:pt idx="0">
                  <c:v>0.28036068611811321</c:v>
                </c:pt>
                <c:pt idx="1">
                  <c:v>2.322914669885693E-2</c:v>
                </c:pt>
                <c:pt idx="2">
                  <c:v>0.45428332366686403</c:v>
                </c:pt>
                <c:pt idx="3">
                  <c:v>8.8637819366076523E-2</c:v>
                </c:pt>
                <c:pt idx="4">
                  <c:v>5.2758507112676142E-2</c:v>
                </c:pt>
                <c:pt idx="5">
                  <c:v>0</c:v>
                </c:pt>
                <c:pt idx="6">
                  <c:v>0.37892159394589803</c:v>
                </c:pt>
                <c:pt idx="7">
                  <c:v>0.51540924912371144</c:v>
                </c:pt>
                <c:pt idx="8">
                  <c:v>2.5617209633611041E-2</c:v>
                </c:pt>
                <c:pt idx="9">
                  <c:v>0</c:v>
                </c:pt>
                <c:pt idx="10">
                  <c:v>0.34438555153868777</c:v>
                </c:pt>
                <c:pt idx="11">
                  <c:v>2.1416509932592909E-3</c:v>
                </c:pt>
                <c:pt idx="12">
                  <c:v>0</c:v>
                </c:pt>
                <c:pt idx="13">
                  <c:v>0</c:v>
                </c:pt>
                <c:pt idx="14">
                  <c:v>0.44487523013291641</c:v>
                </c:pt>
                <c:pt idx="15">
                  <c:v>0</c:v>
                </c:pt>
                <c:pt idx="16">
                  <c:v>2.62605457765184</c:v>
                </c:pt>
                <c:pt idx="17">
                  <c:v>0</c:v>
                </c:pt>
                <c:pt idx="18">
                  <c:v>0</c:v>
                </c:pt>
                <c:pt idx="19">
                  <c:v>0.47877352484274333</c:v>
                </c:pt>
                <c:pt idx="20">
                  <c:v>0</c:v>
                </c:pt>
                <c:pt idx="21">
                  <c:v>0</c:v>
                </c:pt>
                <c:pt idx="22">
                  <c:v>0.7357053867086325</c:v>
                </c:pt>
              </c:numCache>
            </c:numRef>
          </c:yVal>
          <c:smooth val="0"/>
          <c:extLst>
            <c:ext xmlns:c15="http://schemas.microsoft.com/office/drawing/2012/chart" uri="{02D57815-91ED-43cb-92C2-25804820EDAC}">
              <c15:datalabelsRange>
                <c15:f>Sheet1!$E$2:$E$51</c15:f>
                <c15:dlblRangeCache>
                  <c:ptCount val="50"/>
                  <c:pt idx="0">
                    <c:v>GILLETTE FUSION 5 PROGLIDE 5 BLADE REFILL NORMAL 12CT</c:v>
                  </c:pt>
                  <c:pt idx="1">
                    <c:v>HYDRO 5 SENSITIVE 5 BLADE REFILL SENSITIVE 6CT</c:v>
                  </c:pt>
                  <c:pt idx="2">
                    <c:v>GILLETTE FUSION 5 PROGLIDE 5 BLADE REFILL NORMAL 8CT</c:v>
                  </c:pt>
                  <c:pt idx="3">
                    <c:v>HYDRO 5 SENSITIVE 5 BLADE REFILL SENSITIVE 12CT</c:v>
                  </c:pt>
                  <c:pt idx="4">
                    <c:v>DOLLAR SHAVE CLUB 6 BLADE REFILL NORMAL 4CT</c:v>
                  </c:pt>
                  <c:pt idx="5">
                    <c:v>GILLETTE FUSION 5 5 BLADE REFILL NORMAL 8CT</c:v>
                  </c:pt>
                  <c:pt idx="6">
                    <c:v>GILLETTE MACH 3 3 BLADE REFILL NORMAL 12CT</c:v>
                  </c:pt>
                  <c:pt idx="7">
                    <c:v>GILLETTE LABS 5 BLADE REFILL NORMAL 6CT</c:v>
                  </c:pt>
                  <c:pt idx="8">
                    <c:v>DOLLAR SHAVE CLUB 6 BLADE REFILL NORMAL 8CT</c:v>
                  </c:pt>
                  <c:pt idx="9">
                    <c:v>HARRY'S 5 BLADE REFILL NORMAL 4CT</c:v>
                  </c:pt>
                  <c:pt idx="10">
                    <c:v>EQUATE EASY FIT 5 5 BLADE REFILL NORMAL 8CT</c:v>
                  </c:pt>
                  <c:pt idx="11">
                    <c:v>EQUATE EASY FIT 5 5 BLADE REFILL NORMAL 4CT</c:v>
                  </c:pt>
                  <c:pt idx="12">
                    <c:v>HARRY'S 5 BLADE REFILL NORMAL 8CT</c:v>
                  </c:pt>
                  <c:pt idx="13">
                    <c:v>GILLETTE MACH 3 3 BLADE REFILL NORMAL 8CT</c:v>
                  </c:pt>
                  <c:pt idx="14">
                    <c:v>EQUATE EASY FIT 5 5 BLADE REFILL NORMAL 12CT</c:v>
                  </c:pt>
                  <c:pt idx="15">
                    <c:v>GILLETTE FUSION 5 5 BLADE REFILL NORMAL 4CT</c:v>
                  </c:pt>
                  <c:pt idx="16">
                    <c:v>GILLETTE INTIMATE 5 BLADE REFILL NORMAL 4CT</c:v>
                  </c:pt>
                  <c:pt idx="17">
                    <c:v>GILLETTE FUSION 5 5 BLADE REFILL NORMAL 12CT</c:v>
                  </c:pt>
                  <c:pt idx="18">
                    <c:v>HARRY'S 5 BLADE REFILL NORMAL 12CT</c:v>
                  </c:pt>
                  <c:pt idx="19">
                    <c:v>GILLETTE SKINGUARD 2 BLADE REFILL SENSITIVE 8CT</c:v>
                  </c:pt>
                  <c:pt idx="20">
                    <c:v>GILLETTE MACH 3 3 BLADE REFILL NORMAL 4CT</c:v>
                  </c:pt>
                  <c:pt idx="21">
                    <c:v>GILLETTE MACH 3 3 BLADE REFILL NORMAL 15CT</c:v>
                  </c:pt>
                  <c:pt idx="22">
                    <c:v>SCHICK HYDRO 3 SENSITIVE 3 BLADE REFILL SENSITIVE 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9D6906C-733E-4428-A4C3-44AE85A63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09DAB846-FF31-478C-9E01-0991DB366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600B5F15-BE76-42D8-AE3F-B5950F4F9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04631DC2-3039-45CB-B42D-C9E14888F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FA935DE5-6F85-4745-8B36-6D634D16D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8A88F37A-1C80-443A-ADE8-76CD9FC66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8E5FDD29-2B15-4DCF-85D1-40E99D6AD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84D0FD88-A9D8-4813-8BDB-28A46DFA2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89BDB0AF-B21C-4060-978A-7F03964A1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70570FD1-4B2A-40E9-8D5A-EE61C69B7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56CF0F85-FBA7-4515-A8A9-680820DBA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9E195A6A-DFF3-4036-AF14-B6DA23386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077BE7C2-A3F8-4D9E-97CD-54ECEBE6B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F6F5019B-233F-41E2-8EE6-269B39D2E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AD9D6404-2356-4922-B68F-0A6162531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DB747D2F-51C4-43C0-A65A-5F1ECAAEF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2ECB557A-E854-40BD-B4BF-E4E7AEA66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7C9878C2-7138-49CA-9144-A409BC948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84D922F2-F957-4B1C-9293-735D5B987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5455C9A4-1ECB-4603-A532-ECCC0D680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5CEF4CF4-C7C4-4AE3-9F52-71F14AD6A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3D357D06-38C0-4AD5-AB09-4DCAF8639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FB11A482-37B1-406C-94A3-7FEF96017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C1E49B0E-1A1E-4CD8-B6CA-DAB917662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32239515-4124-41E8-82A3-6414749AC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3329A385-17B1-453D-9188-14790D050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674B550E-AB67-4329-A333-A3B04E221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5E9838DE-5B8D-43A3-898A-E52838DFD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0A737F5F-1101-48A3-8020-EA67B9E19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21526B07-E198-41A8-BE6E-9ABDF1B6C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0DB18CB4-7800-43D4-A58A-B250347AA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961AE933-C40A-4467-96CE-9F0F0AA5F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8AC84C0E-7ABE-4EC4-90BC-E64E85488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A4952558-EC6A-470E-B3C4-FBAB7F8D5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8651275-F590-4485-B788-8FF417A7A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D2EFE718-7534-42E0-9E26-507E860E8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CC13139E-D1CF-4518-818F-809AC3772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E56815E2-2894-475D-B15B-929BAB04E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081A50DF-56BC-4E00-BC97-739D13C62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398B388B-377D-4BD4-8329-4E57AB57A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0967C291-98C3-4588-BE62-D1949C7EC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B03D2370-65F5-4357-9557-8C71264A7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F0C07D62-47B7-4FF9-BE10-B384DF6A0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F8B95F83-4BEA-41EC-9AED-262D057C6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2420CAF5-91A7-47A0-98FE-0F8DE61E0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0037EFFB-0B34-4120-84B6-3101F9628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6</c:v>
                </c:pt>
                <c:pt idx="1">
                  <c:v>1.9</c:v>
                </c:pt>
                <c:pt idx="2">
                  <c:v>1.33</c:v>
                </c:pt>
                <c:pt idx="3">
                  <c:v>0.96</c:v>
                </c:pt>
              </c:numCache>
            </c:numRef>
          </c:xVal>
          <c:yVal>
            <c:numRef>
              <c:f>Sheet1!$B$2:$B$5</c:f>
              <c:numCache>
                <c:formatCode>General</c:formatCode>
                <c:ptCount val="4"/>
                <c:pt idx="0">
                  <c:v>0.27279047397178152</c:v>
                </c:pt>
                <c:pt idx="1">
                  <c:v>0.23067785652178049</c:v>
                </c:pt>
                <c:pt idx="2">
                  <c:v>0.17727200467040899</c:v>
                </c:pt>
                <c:pt idx="3">
                  <c:v>0.27999560553999492</c:v>
                </c:pt>
              </c:numCache>
            </c:numRef>
          </c:yVal>
          <c:bubbleSize>
            <c:numRef>
              <c:f>Sheet1!$C$2:$C$5</c:f>
              <c:numCache>
                <c:formatCode>General</c:formatCode>
                <c:ptCount val="4"/>
                <c:pt idx="0">
                  <c:v>25406313</c:v>
                </c:pt>
                <c:pt idx="1">
                  <c:v>8454937</c:v>
                </c:pt>
                <c:pt idx="2">
                  <c:v>9284787</c:v>
                </c:pt>
                <c:pt idx="3">
                  <c:v>5674749</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512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A9E6DDA-5574-4383-AD7E-73D4189D2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AAA9B35-0F50-4A33-8536-BC20FC0CF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FC548E27-C10F-4FA4-8C78-E501023E7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EC4224F-B5D2-4B02-A545-B0D9DFBD7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5B0171FC-2B93-4EED-A799-18A25AAF4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BC16027-B022-45F3-BE6A-4F3A04D05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837E159E-0A0C-4AF8-93B0-6EB0DB7A0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F32C5406-49FD-4670-9313-692AB0A00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98322B6-A5E1-4CA0-938E-B37E29865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4A244D94-026A-473D-9B25-CF2D9F21B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0E6457E2-4999-4409-89E7-92F80F3DF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0F6A6F9E-AFCE-4E56-AA3C-8CAB5A17F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55E9EF2F-7F32-4A35-93A3-922015464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A608A11-8997-4107-A486-FB7AC843A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3363-48D8-B751-EA6AD3438C92}"/>
                </c:ext>
              </c:extLst>
            </c:dLbl>
            <c:dLbl>
              <c:idx val="16"/>
              <c:tx>
                <c:rich>
                  <a:bodyPr/>
                  <a:lstStyle/>
                  <a:p>
                    <a:fld id="{361031ED-18EA-43BF-932E-685A61992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5B2DA605-59FE-464D-8318-86A4E603C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6BF95617-5A11-44EB-9B8C-59F7D5F53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0A67AD17-4D69-4F75-9E9C-3082D5D46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F981425D-DCAB-43C1-BFF0-6FBACCBD4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AFE1CF7-C55D-4556-8D6C-2133D3765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1A1768DB-8F01-4F2E-BAFA-A479C26D2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6BA7696D-AFC2-42C1-9BA1-004E8FFA1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01535A01-C9A1-4265-B84A-326381272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119E6467-5248-4DDC-8946-2E8C2E0BB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BFB6228E-32DC-4598-9D6D-50CF7EF2E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C4BE2A21-0847-4710-9A97-72BD5CC35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63E79A8A-61A8-4141-9ECD-268346B1A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C9B7D51C-7164-4728-AAB0-8883FA871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8197CE59-6C4E-432B-890D-B8AA0C9DE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0FC1CDAA-CC04-404A-BD61-0C51AB319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ED270FFD-A51E-48D2-A1EF-44AB2196B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46EB9629-E944-4427-A0E1-C952EA249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9F30C477-4E3E-458C-981B-C8A13B291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C3E60362-DA2B-4901-B974-4DC3BF940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27C447B3-E810-4EA0-92B4-C7D47264A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883B5154-8DE1-420D-8B20-7CFDF8B1B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2A163D96-6A1D-4B2F-A60B-F3217B696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61E3026E-9565-4F0A-B0D6-541FF2656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C42E05A5-4389-48DF-A5EE-4F7EAF470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A381B859-EBA3-4C65-B1A7-FE412DE40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844BFEB8-AF8F-44A4-BE6A-EF59D5179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5B8FE6DD-6A35-4882-905A-5F0FC131F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0320E8AE-FF9F-418D-841A-03D39EF61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E281B3E2-2DEC-4E41-B8D8-3883CE4C2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BB16C745-3405-46B5-83E4-11F96B782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F14EE59C-9D15-4467-B2D5-F37F30A60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5</c:v>
                </c:pt>
                <c:pt idx="1">
                  <c:v>1.72</c:v>
                </c:pt>
                <c:pt idx="2">
                  <c:v>1.24</c:v>
                </c:pt>
                <c:pt idx="3">
                  <c:v>1.32</c:v>
                </c:pt>
                <c:pt idx="4">
                  <c:v>1.27</c:v>
                </c:pt>
                <c:pt idx="5">
                  <c:v>1.75</c:v>
                </c:pt>
                <c:pt idx="6">
                  <c:v>1.39</c:v>
                </c:pt>
                <c:pt idx="7">
                  <c:v>1.49</c:v>
                </c:pt>
                <c:pt idx="8">
                  <c:v>0.91</c:v>
                </c:pt>
                <c:pt idx="9">
                  <c:v>0.65</c:v>
                </c:pt>
                <c:pt idx="10">
                  <c:v>1.4</c:v>
                </c:pt>
                <c:pt idx="11">
                  <c:v>0.03</c:v>
                </c:pt>
                <c:pt idx="12">
                  <c:v>0.06</c:v>
                </c:pt>
                <c:pt idx="13">
                  <c:v>0</c:v>
                </c:pt>
                <c:pt idx="14">
                  <c:v>-0.03</c:v>
                </c:pt>
                <c:pt idx="15">
                  <c:v>-0.69</c:v>
                </c:pt>
              </c:numCache>
            </c:numRef>
          </c:xVal>
          <c:yVal>
            <c:numRef>
              <c:f>Sheet1!$B$2:$B$17</c:f>
              <c:numCache>
                <c:formatCode>General</c:formatCode>
                <c:ptCount val="16"/>
                <c:pt idx="0">
                  <c:v>0.81460090735963353</c:v>
                </c:pt>
                <c:pt idx="1">
                  <c:v>0.7383750528378934</c:v>
                </c:pt>
                <c:pt idx="2">
                  <c:v>0.76790738086259158</c:v>
                </c:pt>
                <c:pt idx="3">
                  <c:v>0.39216582365237512</c:v>
                </c:pt>
                <c:pt idx="4">
                  <c:v>0.240954913595957</c:v>
                </c:pt>
                <c:pt idx="5">
                  <c:v>0.59609743116706959</c:v>
                </c:pt>
                <c:pt idx="6">
                  <c:v>0.13864863616545811</c:v>
                </c:pt>
                <c:pt idx="7">
                  <c:v>0.28221830030740819</c:v>
                </c:pt>
                <c:pt idx="8">
                  <c:v>0.14103156992395741</c:v>
                </c:pt>
                <c:pt idx="9">
                  <c:v>9.1836150396722896E-2</c:v>
                </c:pt>
                <c:pt idx="10">
                  <c:v>0.23075279536192311</c:v>
                </c:pt>
                <c:pt idx="11">
                  <c:v>0.10001820721860551</c:v>
                </c:pt>
                <c:pt idx="12">
                  <c:v>1.5111368645785229E-2</c:v>
                </c:pt>
                <c:pt idx="13">
                  <c:v>0</c:v>
                </c:pt>
                <c:pt idx="14">
                  <c:v>-1.9226785309249528E-2</c:v>
                </c:pt>
                <c:pt idx="15">
                  <c:v>-5.4076604412468622E-2</c:v>
                </c:pt>
              </c:numCache>
            </c:numRef>
          </c:yVal>
          <c:bubbleSize>
            <c:numRef>
              <c:f>Sheet1!$C$2:$C$17</c:f>
              <c:numCache>
                <c:formatCode>General</c:formatCode>
                <c:ptCount val="16"/>
                <c:pt idx="0">
                  <c:v>1778216</c:v>
                </c:pt>
                <c:pt idx="1">
                  <c:v>1356208</c:v>
                </c:pt>
                <c:pt idx="2">
                  <c:v>901567</c:v>
                </c:pt>
                <c:pt idx="3">
                  <c:v>1577777</c:v>
                </c:pt>
                <c:pt idx="4">
                  <c:v>1162498</c:v>
                </c:pt>
                <c:pt idx="5">
                  <c:v>1128687</c:v>
                </c:pt>
                <c:pt idx="6">
                  <c:v>1539499</c:v>
                </c:pt>
                <c:pt idx="7">
                  <c:v>1048958</c:v>
                </c:pt>
                <c:pt idx="8">
                  <c:v>619932</c:v>
                </c:pt>
                <c:pt idx="9">
                  <c:v>755811</c:v>
                </c:pt>
                <c:pt idx="10">
                  <c:v>709097</c:v>
                </c:pt>
                <c:pt idx="11">
                  <c:v>829105</c:v>
                </c:pt>
                <c:pt idx="12">
                  <c:v>612423</c:v>
                </c:pt>
                <c:pt idx="13">
                  <c:v>350447</c:v>
                </c:pt>
                <c:pt idx="14">
                  <c:v>914106</c:v>
                </c:pt>
                <c:pt idx="15">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48E7324-793B-469A-9082-814C45A20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22DFD2E-2977-4BD9-BE70-1CFFA6C56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3C70A9CA-A79A-466C-95FB-671D3BCFB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482AF4E6-5744-4206-9836-4E5A3196D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29F0F80C-70F0-492E-8012-DF17472B1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41065F22-6C13-43DE-B887-E2ABBE785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19235281-0622-4741-98D9-1DF4AFC45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F2B91409-8B34-4AED-8050-331C85B65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049104A3-CB69-427F-A5C6-B61D5D3A8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FCE0C875-D414-4B17-83FC-26A6E8E76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B4003829-ED93-4765-AA5F-791863AFE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7A9826F1-BCBE-4B17-95AF-ED43CE92C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2A9771E8-96FE-4122-B0B0-ADCA62E02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ACA76BD0-D666-41FA-8C17-495ECD875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0C11D274-5441-46F0-A875-9BEC9E37B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AA9408EC-5CD9-453D-9709-EC0530182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FE480FA5-7032-4B72-A7DF-E94C2DABD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80831AE2-762A-460F-B743-01AF664A7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7543352E-3FC4-4949-B05D-80C08B681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A2A0C55D-EBEF-4C22-9C09-233B572B1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72A1991D-0C22-43BE-9BE5-D82AB5C63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0C947844-E035-44AC-B5C1-F550F1006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3702B293-80D6-4063-AD07-4920D2BFD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33798F1A-E3F5-4A85-B993-0C69C8B1F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CA7907B2-EB68-4351-9CCB-7A18B9DE0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00F1AC87-7E63-4324-BAC6-5AC2EE4AF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77A03A11-26DA-49DC-A0F1-B645E3F4E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6A968E15-38F4-43C6-A9DF-0E83FE6D3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13667A9C-AFF4-43DC-91F9-BB7ACE166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57F99280-3783-4F71-8413-4D08D55D6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F548E74F-522C-488A-B8CA-2661A01A5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8B5327E5-C76D-4F47-9A0E-1A2DF99DB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A9B51E96-A8F9-4744-84EB-DE69C4580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D9B2BA06-F7E8-4DF8-AE14-49B888328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64B559D-916F-4A47-AA99-8F2ED5D61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7552E9FC-B133-4B99-ACDC-7B18037F3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47B7E352-F10F-4E1F-8141-7F88E723A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3C34DD49-1B4C-4000-9882-A65E10694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A1612BFF-026D-4DB1-B7F4-65ED865BE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5CAFE272-74E6-45BC-8E97-F0275ED90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7742DA04-8F3E-4299-B0C1-51FACFD92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0E1C0034-AF2F-49D7-BF8C-C3A6D976C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187A356C-6D40-46BD-80F9-37BF3E565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B65EB394-3DAA-4422-ACEF-41DE4D782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AB915BEF-3C84-4F50-8D8D-D99894ACE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9C04954E-4A19-4EA4-AF2F-797145944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86</c:v>
                </c:pt>
                <c:pt idx="1">
                  <c:v>1.33</c:v>
                </c:pt>
              </c:numCache>
            </c:numRef>
          </c:xVal>
          <c:yVal>
            <c:numRef>
              <c:f>Sheet1!$B$2:$B$3</c:f>
              <c:numCache>
                <c:formatCode>General</c:formatCode>
                <c:ptCount val="2"/>
                <c:pt idx="0">
                  <c:v>0.27279047397178152</c:v>
                </c:pt>
                <c:pt idx="1">
                  <c:v>0.17727200467040899</c:v>
                </c:pt>
              </c:numCache>
            </c:numRef>
          </c:yVal>
          <c:bubbleSize>
            <c:numRef>
              <c:f>Sheet1!$C$2:$C$3</c:f>
              <c:numCache>
                <c:formatCode>General</c:formatCode>
                <c:ptCount val="2"/>
                <c:pt idx="0">
                  <c:v>25406313</c:v>
                </c:pt>
                <c:pt idx="1">
                  <c:v>9284787</c:v>
                </c:pt>
              </c:numCache>
            </c:numRef>
          </c:bubbleSize>
          <c:bubble3D val="0"/>
          <c:extLst>
            <c:ext xmlns:c15="http://schemas.microsoft.com/office/drawing/2012/chart" uri="{02D57815-91ED-43cb-92C2-25804820EDAC}">
              <c15:datalabelsRange>
                <c15:f>Sheet1!$E$2:$E$49</c15:f>
                <c15:dlblRangeCache>
                  <c:ptCount val="48"/>
                  <c:pt idx="0">
                    <c:v>1</c:v>
                  </c:pt>
                  <c:pt idx="1">
                    <c:v>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5950000000000002"/>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262B7CEC-B6A1-4A95-9297-2EBF098E1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EEFA4E62-4AD0-49BB-80BE-95D9C4FC4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23758BEA-FE62-405B-88E7-029FF4C00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1CB116F0-73DA-431A-ABA0-EEE76D575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EEFB6794-2A10-4878-9333-8AEEF9B70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AACC602B-ADF1-4D71-9408-B9039D9B3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6087EDEE-F6F7-43C2-8ABE-BAA84CAB7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677F90A2-05E2-42BC-8266-2CD855F86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718D08CF-D5AC-4C50-AC71-498471792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B55D2CB5-3382-43B5-9D87-BAA1B4D0B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3D7E9A76-A6AA-43EE-8518-166F48D90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5434E391-6D8D-4F1B-9AD7-2F68E3E7C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EFFF048F-159F-44AF-A58F-2F28EED96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4FEEC384-24AB-4A40-88EA-A6A7A1221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B046F325-DC8B-41D5-92D8-FA6659ACF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CB651C26-FA7F-498A-BAB2-67EFDDABF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945A4B0A-47E8-48D1-ACAE-3D38F99F1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6D9C964F-FE53-46F4-B2CA-6E0E33302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1EE201A-0EAB-4B41-8168-B0EC07D89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1D55AC0-21DD-4736-8F7D-96B9BCECB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2225BBA4-1DB2-472D-BD58-1B7D4E324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B6C99528-95DA-48BE-94F0-4913074DA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F43E3565-6213-4F84-81DA-581A667D0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C6759BC5-9D5A-4737-A786-E64C48ADD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98AA5B46-7C28-48D4-B7B7-61BA862F7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37BF277A-0392-4272-8D23-551C7BA69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D8D9A656-24E2-4EF2-85BF-1CA7CA1C9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FDF35C2F-AB41-4AAE-8E05-B4535A570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F9ABB57D-E75A-44E7-9BD6-40F443ED5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EEF65B59-3A61-4B81-9244-B86878415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F92228FA-86F4-4913-84F3-5DFE30028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D893849B-099E-410E-84F2-14F9D5CA3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498C4ABF-2469-4CAB-A49C-B84561205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BCA43BA9-231D-4759-A21A-1BD959DAB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E963F641-1AA9-4A96-8F8D-B1CC638DA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E9090DC4-6108-42D1-A3CF-F48911963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BD602755-66A1-4F78-B9BB-2578F2C00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12503F70-FDD4-470F-813A-A10792990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528FA915-5D95-4E56-9253-AFB0F9653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3F5E6749-D74D-4325-9F78-CE7857665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C1A89A0D-C916-44F9-8EC8-F72037142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5A2200F8-5A04-4E9C-99AB-4DF02C958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A5C0EB1-95C5-415B-857D-AFCF2596A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AA144812-F8F5-4FB8-88E9-C2DAF9A59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CF8298BE-AC7D-4697-9DCA-0DC943CFF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287A29C5-C193-43E3-9A9F-16150211B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7785652178049</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040C451E-0335-4401-99BA-1B2CFB507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D192BB08-2335-4FF8-886C-321DE7508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FF9FCFA9-A62C-48FE-9B2D-8EC69D556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4147FBDB-C564-4932-A584-BFAC56977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86D6174A-751D-4652-B0D3-EF5E6E99D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B220BCF0-B3DE-461F-BC1C-5E445E1F3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9DAB98D9-8C69-4C7E-BA24-C723748E4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E6C8CCBE-AC4D-4D37-B95D-81A43B783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6C90CCCD-7779-4557-8284-13F973CBB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2DC35F9-AA16-4900-B3BE-BCDA892AF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3363-48D8-B751-EA6AD3438C92}"/>
                </c:ext>
              </c:extLst>
            </c:dLbl>
            <c:dLbl>
              <c:idx val="12"/>
              <c:tx>
                <c:rich>
                  <a:bodyPr/>
                  <a:lstStyle/>
                  <a:p>
                    <a:fld id="{B299C6F0-6A33-49B0-99FB-1A06C94EA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0B4850FF-410E-4504-978E-B8A525D84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51933BC5-3B8B-4F13-A701-ED7C88094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2490B95F-7E6D-4C61-97AD-C10CF3E35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792FA413-B949-4DBF-B686-3C6930417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D40AAECA-D267-4B00-917B-8F28B9B64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6F8C2213-05FD-45B7-B588-3876ABA6C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FD910941-148D-4C23-968F-38152EF5E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C3CEC257-12E5-41CE-BEA9-137BF8E16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5E662FEA-7A72-4974-ACB2-B7F4F9662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23B531E5-6C87-4006-9DE7-49B2E20A3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D02BC256-6518-4C0B-B947-307184C3B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E0E489D2-EBA8-4602-86A5-827AC47F7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BD5AC95F-8195-4105-A36F-0997EA6BB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F52C8FA8-818F-4B5F-BD80-4B23FBB66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4DB578FE-8F63-4A96-86E7-883EA068F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DA56FAB8-6496-4747-AE02-7BDB673BE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0EAD05F3-EB82-45BD-8749-C20339F93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3BCF8A5A-D40E-4AAF-B41A-BAA822DE0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F198F5DE-769B-4829-B908-4CA8D4439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EEC25B70-CF75-4668-AF88-6DCC09FBF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7C205679-7D57-4592-A811-C7F6FB01A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781955AB-3E8C-4A27-910A-54D98449E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15838D67-9A07-40FE-B23A-D4A5862AD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2496EB56-91D0-4524-885E-072579568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463D975F-2E24-4281-8720-C7282A068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C69FB1E4-6702-4FA5-8BD0-BF2F64AC1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16621642-BD9A-4BAF-ABCD-FFA078C56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61E1A3BB-FA05-4785-AE50-B7A7492AA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290CE6E6-F904-4E5F-880A-027ECA6E0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F7C8894E-B326-434A-8A19-5B8C4E65B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A60FF204-41CF-424F-96EB-B9905741B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BCA3053-0943-4FD5-B024-DA875D7B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29BE5A76-B6E1-4149-AC38-63FACF9F3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18456D23-B4EE-4588-BB63-B78879F88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DF8654EF-EFE6-44A8-83E9-E23B81876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3</c:f>
              <c:numCache>
                <c:formatCode>General</c:formatCode>
                <c:ptCount val="12"/>
                <c:pt idx="0">
                  <c:v>1.5</c:v>
                </c:pt>
                <c:pt idx="1">
                  <c:v>1.72</c:v>
                </c:pt>
                <c:pt idx="2">
                  <c:v>1.24</c:v>
                </c:pt>
                <c:pt idx="3">
                  <c:v>1.32</c:v>
                </c:pt>
                <c:pt idx="4">
                  <c:v>1.27</c:v>
                </c:pt>
                <c:pt idx="5">
                  <c:v>1.39</c:v>
                </c:pt>
                <c:pt idx="6">
                  <c:v>1.49</c:v>
                </c:pt>
                <c:pt idx="7">
                  <c:v>0.91</c:v>
                </c:pt>
                <c:pt idx="8">
                  <c:v>0.65</c:v>
                </c:pt>
                <c:pt idx="9">
                  <c:v>0.03</c:v>
                </c:pt>
                <c:pt idx="10">
                  <c:v>-0.03</c:v>
                </c:pt>
                <c:pt idx="11">
                  <c:v>-0.69</c:v>
                </c:pt>
              </c:numCache>
            </c:numRef>
          </c:xVal>
          <c:yVal>
            <c:numRef>
              <c:f>Sheet1!$B$2:$B$13</c:f>
              <c:numCache>
                <c:formatCode>General</c:formatCode>
                <c:ptCount val="12"/>
                <c:pt idx="0">
                  <c:v>0.81460090735963353</c:v>
                </c:pt>
                <c:pt idx="1">
                  <c:v>0.7383750528378934</c:v>
                </c:pt>
                <c:pt idx="2">
                  <c:v>0.76790738086259158</c:v>
                </c:pt>
                <c:pt idx="3">
                  <c:v>0.39216582365237512</c:v>
                </c:pt>
                <c:pt idx="4">
                  <c:v>0.240954913595957</c:v>
                </c:pt>
                <c:pt idx="5">
                  <c:v>0.13864863616545811</c:v>
                </c:pt>
                <c:pt idx="6">
                  <c:v>0.28221830030740819</c:v>
                </c:pt>
                <c:pt idx="7">
                  <c:v>0.14103156992395741</c:v>
                </c:pt>
                <c:pt idx="8">
                  <c:v>9.1836150396722896E-2</c:v>
                </c:pt>
                <c:pt idx="9">
                  <c:v>0.10001820721860551</c:v>
                </c:pt>
                <c:pt idx="10">
                  <c:v>-1.9226785309249528E-2</c:v>
                </c:pt>
                <c:pt idx="11">
                  <c:v>-5.4076604412468622E-2</c:v>
                </c:pt>
              </c:numCache>
            </c:numRef>
          </c:yVal>
          <c:bubbleSize>
            <c:numRef>
              <c:f>Sheet1!$C$2:$C$13</c:f>
              <c:numCache>
                <c:formatCode>General</c:formatCode>
                <c:ptCount val="12"/>
                <c:pt idx="0">
                  <c:v>1778216</c:v>
                </c:pt>
                <c:pt idx="1">
                  <c:v>1356208</c:v>
                </c:pt>
                <c:pt idx="2">
                  <c:v>901567</c:v>
                </c:pt>
                <c:pt idx="3">
                  <c:v>1577777</c:v>
                </c:pt>
                <c:pt idx="4">
                  <c:v>1162498</c:v>
                </c:pt>
                <c:pt idx="5">
                  <c:v>1539499</c:v>
                </c:pt>
                <c:pt idx="6">
                  <c:v>1048958</c:v>
                </c:pt>
                <c:pt idx="7">
                  <c:v>619932</c:v>
                </c:pt>
                <c:pt idx="8">
                  <c:v>755811</c:v>
                </c:pt>
                <c:pt idx="9">
                  <c:v>829105</c:v>
                </c:pt>
                <c:pt idx="10">
                  <c:v>914106</c:v>
                </c:pt>
                <c:pt idx="11">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31A0E6F-F98E-4F9E-8924-EA1F42BB7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05F80DA6-F83B-43B3-96D2-2A248F34D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7E8A88A-0A0B-4A54-8231-0C7A187CF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C42183A6-B2F4-4C57-98A8-983B2B5F3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8C095478-7F33-4ADD-9167-7628241D4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5AA0518E-980F-4866-B98A-568C0E943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1B64312A-2D78-4B5F-9AAB-3BB419D7E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0656FF35-481F-418F-9E02-AFB3B5CEA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99692227-035A-472D-8219-E4192CF95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C99F6146-F5D0-4E07-8F19-86CE74D34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0640919C-BA76-49F5-9EB8-1F71ECD48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A4BD9E46-B173-4887-8EA9-E699C95D3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1E8B99D9-6DF2-45F6-9A65-CFFC8ECB6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DE5AB482-1C1B-443E-940D-0E78755FB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8A8987F4-FE5A-4B5D-BFE6-9BF1D1F60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470844BE-A615-4937-9B24-5548ABC72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DAD2D69E-FB53-4710-A000-EAAE3D209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473AD9D0-2FD4-4005-8750-EF3E7FFA7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7D6E7DCD-D856-48A5-895E-ACFB9AA91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7D118F2A-FF46-4A53-9B44-7C4B7A137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55785592-3697-4572-B2DE-79D35807A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7564F555-078D-409F-8A64-190611450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49C5F41B-D767-40BA-BCF0-92A6C6783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0DA0ADC6-2116-46B0-BDDD-7B9206927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78F86C6A-DA09-4DA8-A64C-5BCDCE2A3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82740A7C-CF85-416A-A03C-361B5A7DE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21C87E89-C8B9-49B7-8198-27DA65F24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9EFF0A16-27E3-405C-A8E7-FA33B5AB8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615BF90C-FF85-4B00-AEA8-5B303340A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1D93CA24-8FD9-4335-A390-EA7CFBC3A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4BFC1B15-D308-4469-9841-F25D908A4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24809C92-B92B-4EC7-B1ED-32DA51C3D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E5CD3EA9-85F2-47CE-B3FE-4713E5303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A55CDD53-A012-420D-A482-1C373A8A8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91C83B5B-3326-49DD-8632-F9994F232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A623D4D7-C5AF-4A1B-9518-2F198CC01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261F3534-70AF-465C-BEC8-8FB34D96F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65F509CA-2B90-4BF3-9A10-451CC6FF0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5FC1E95A-D7F9-48F6-88A2-666FAB5FA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C1A02188-0AAC-4049-BDDF-A3D0F1EE3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00AD0993-8122-455C-B3C0-4878EDB5B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7AA5CE83-F561-41DA-94DB-CAAE021D4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6D834AF-0B27-4A50-9312-75A5A86E9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E29DFCA8-1B57-427C-8D45-4A2C115B3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979C7A75-1390-4138-88C3-FAA83092F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368AF161-524B-4115-976A-0977640D9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5</c:v>
                </c:pt>
                <c:pt idx="1">
                  <c:v>1.4</c:v>
                </c:pt>
                <c:pt idx="2">
                  <c:v>0.06</c:v>
                </c:pt>
                <c:pt idx="3">
                  <c:v>0</c:v>
                </c:pt>
                <c:pt idx="4">
                  <c:v>0</c:v>
                </c:pt>
              </c:numCache>
            </c:numRef>
          </c:xVal>
          <c:yVal>
            <c:numRef>
              <c:f>Sheet1!$B$2:$B$6</c:f>
              <c:numCache>
                <c:formatCode>General</c:formatCode>
                <c:ptCount val="5"/>
                <c:pt idx="0">
                  <c:v>0.59609743116706959</c:v>
                </c:pt>
                <c:pt idx="1">
                  <c:v>0.23075279536192311</c:v>
                </c:pt>
                <c:pt idx="2">
                  <c:v>1.5111368645785229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0D7CBF96-77EC-49CE-9510-7BFEEAA8F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91EF5AD-5805-4FBA-802C-9A647D061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735623F8-1B81-4267-940A-A4258F9BE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F0ED5C32-F0BF-47E4-844A-0C4A72662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D034E768-6F74-4F48-B9CB-B4F96A8D1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8BD19131-C4BC-45E5-878C-26489847D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8ADBFA3D-BD5E-4200-B355-01DE4990F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78264C84-A695-4B70-94E2-F1FF41A5A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9AF01F14-A76E-414E-B26E-374F04B7A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413A3684-D737-41D5-92F2-81CF16005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ECF6E035-EC19-4C8E-B832-78C979D44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EADA646A-5CD1-4DE1-B187-32E83B225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2F395E88-CCB1-4178-BAE3-1D4277667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CBE46CD4-8DF6-4762-AFF0-2A1F82190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5C89A0C7-EF4B-444E-893C-FABC6912A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E95DDC0F-EF6A-41B9-866D-8141000D2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6D575555-0E36-4E69-8C9C-3995F6EDC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086624B9-6F35-4DD0-A849-182BBD491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838D2D54-1044-43BF-82EA-2F8FF5F60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67ABABFE-B57A-4526-A0B2-6A092B0B4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05DE9471-9293-4B36-BDB2-A1E3DBE1A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9555A2B3-564A-4213-911B-4E9C56DBD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D3026182-4178-47A0-A7DE-A20A9E0B1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2EEE1654-834C-43F0-B3B3-690E67B91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7229AEC9-B31F-443E-BC27-4B0FA965F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5842A39C-A5A7-4BAB-932B-693857444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F8DB0C88-307C-4A18-966C-0C739CB1C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DE903DCC-0452-492E-8DA0-4D2FCB0B9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E8388C97-302E-43A2-A7B0-BF6E47829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D90FAE33-7190-4E8B-BFD2-F1234C324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C8CD199E-B6D3-4A0D-975A-BBEABACDF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75C01AB2-948A-4021-9E58-FE4166512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1B1468B2-5703-48E3-98F1-0F7DADD47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C1BBE315-1D4D-4CC5-A834-C7792C194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069431E3-CD6D-458C-8976-B0C23EB40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0F7B299A-7896-4870-A567-FF083820F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4E1E5F61-7040-43D5-B8A7-AE1252C36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17DA7707-DB61-45CE-A7C6-95F903DE6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C57295F1-A0D7-4953-936B-6A1C896FF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BDEC973D-49B2-4CBE-ADEC-37378CCF0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0B68927B-6CD4-4C83-BE4F-ED65CF333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57B54621-B2EF-4044-A393-0BC5CF409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FD307985-9928-44ED-BFE7-22D346A07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AB257F37-0907-44EF-8480-9ECB44719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FCFA3A7C-EAEB-463B-923C-E9D966217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9C8DDACB-1FF7-41AA-9718-BFA9FDD18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7785652178049</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D13A712A-FD68-4DF2-AB52-35A349510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F5DF320F-E138-4690-8388-711F2BC91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60A86DA0-E8F3-4C70-A36C-3A150A709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8909CC85-74D8-4F39-8CD7-5A3B1A5E6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16D59823-D733-423E-AE6A-0F756BAAF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0F8B5237-257B-4E08-94AC-D2D5D07B5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B1B27DD5-544E-41B2-8DA7-22786ACEB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D43DC193-2169-4FE4-9434-56505F0E6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CDD467F9-C1A1-499F-8295-5CE84B494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528E2529-8565-45FE-8E16-426B14FD3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9FABE5A9-DB6E-4C7E-B5AD-616A297B1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268AB708-D3C3-4DD2-A941-5CECC7F7B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C0599340-C914-4EFB-88F0-F5624F731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4A9FCDC8-40CF-4219-B483-A1967949C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6FA4D7D2-4979-4885-8743-EE9928101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DC6BAFC6-A8B6-48EC-9662-5D994C52C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D7FEE657-0C18-4A9D-971D-B94BF3B9A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5D7F5049-C6E4-4B24-AD12-A5DD824B6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16D62474-1CC0-4524-8C34-87470AB10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79D7E0C8-D197-4438-8612-3ADBD0F22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5D49203-8E87-46B6-B8F9-3F2215C59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48D05E9C-2A12-4AFF-981E-A652F49E3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95CC1548-DBFF-43C2-8F80-AAC5593F9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E56FE1E0-9018-42A6-B12A-721C626B9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92F7D55B-F83D-40E6-898B-519372B36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A339FF45-3FC9-479C-9592-C0E19985E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1FCA5E7A-C598-460E-9C7A-0EA3A3587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A89DACE0-6162-4418-9252-D195791FB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F1E675CD-3EB7-4CA6-90B6-0FEB99D0A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3499A4B0-E3F8-4271-98C7-DAE44EE97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1D5B3530-33DD-40C1-8535-C25E0880F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7C203FDA-F2D2-4B91-B4E5-4B6E6166E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5C84AA7A-E232-4FC1-9639-236763032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51463539-1973-4504-8ABF-1827815B9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883B2B48-52DF-48F4-A85C-B5173BCDE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FF0F6993-08A8-4F31-A5BF-D0568A971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B202E30E-0C42-403C-ADB5-A8067483C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87926539-9A1D-4502-A7A1-356738ABE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FCFB6DC0-1536-48DD-95D8-7267E34F7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1BD2E903-0723-466E-A1F0-311AE9017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EEB4594E-F2CE-4C7F-8B98-9EB29D76A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4797F66A-F0B9-4E7A-96B2-3A741D53D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2524EDD2-E582-454B-AB75-D73C0EF01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F6A8F193-AC04-4166-B9AF-AA16B4388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25907D23-140B-4809-811E-BD88FF1A7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E2D50226-6A75-4D04-83C5-B24958DB1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499999999999999</c:v>
                </c:pt>
              </c:numCache>
            </c:numRef>
          </c:xVal>
          <c:yVal>
            <c:numRef>
              <c:f>Sheet1!$B$2:$B$2</c:f>
              <c:numCache>
                <c:formatCode>General</c:formatCode>
                <c:ptCount val="1"/>
                <c:pt idx="0">
                  <c:v>0.12659449735383391</c:v>
                </c:pt>
              </c:numCache>
            </c:numRef>
          </c:yVal>
          <c:bubbleSize>
            <c:numRef>
              <c:f>Sheet1!$C$2:$C$2</c:f>
              <c:numCache>
                <c:formatCode>General</c:formatCode>
                <c:ptCount val="1"/>
                <c:pt idx="0">
                  <c:v>5341941</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149999999999999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C70115BB-CFF4-4808-ABC6-BB037D993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0F3E6C0-671B-447B-A7EE-7B3C02E45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5D9CB810-D775-49ED-A638-560063F9B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DEBF3462-9039-4712-8BB3-B3A3247C7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F156DD60-51F8-4D44-B8F8-373F4CDC4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6C078EE4-FC41-4A92-A239-FEE80FD33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97A3124A-4F8D-4541-9E1B-EB73165F0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E49ABD56-C9CE-4C5E-8C2C-BBE09564D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62EC3077-8D2A-43BF-8CF8-1DA34BA6E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02020DFB-0AD8-4ACC-BD64-2EBCAADA0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56A58151-4EBD-4594-A759-FD9962300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135384B0-5D25-4B45-9B9B-FFF1B187D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DB9E52D5-FE51-4833-9965-6C6187ADB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0A6CBCFA-90F2-4F53-8A35-CDE3E751F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FB0DF48F-EEBE-4EEB-A914-B7DFBE6BB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CEC3F092-BA9D-4DCA-9029-E5EF5D030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083C85F8-B31C-4DDC-8E0E-8CFFFE54E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47DC3B5E-299B-49C9-933F-B0C357899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4E15AA32-EEFC-454A-95A8-8566F7D15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85E50093-6AF3-4670-815F-3A400C1E4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4FDE70B-3AA5-4226-9353-406628741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84536B7E-363D-46A7-936F-66045341F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C2BD344E-717E-4010-B511-ED0DBDD88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A580B199-E87C-4369-B6BE-FD5388ACE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6020D4DB-458C-4B6B-80DA-29823079E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2A815C05-C317-417E-A920-3E882D17B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944D2B2E-CD45-49E1-8461-436CD283A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3F0265B8-4CAE-470F-87AD-3A8DDFC35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ABC63689-A179-409E-A1D2-0C2217292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0F2A253C-25E5-4EF4-A597-744820B3A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52F1145-060D-41CE-BA28-24D127CCA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89323C14-AE9E-4B9E-ACEF-93B8A1687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3398F0BC-4409-4A7B-A516-929896318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EB24D755-89A8-4B62-AA05-599CE735E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8630600F-BAD8-4A4A-AC21-CAF6EA428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45E0B1E6-E7DB-4ADF-887F-CE915DE61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14985077-D592-41E1-87F1-55397D524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3B72F7D2-6B3A-41A1-8A95-C989543A3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0E959B8B-CB36-47C2-9EFF-380105FA7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D942DFE7-781A-45D0-82D8-69AB682D3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54B81EB1-BCA9-4035-A6C0-28450C2F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BF55F34B-E531-4CB1-8F00-36CCCA52C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BF86B9DB-1970-4283-B39E-9218A8218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AB2AAEB3-128E-40F7-97FF-D9BE53AA2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67E08AC2-FC7C-4AB7-89D2-A715252EA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1DC71B7B-C35E-4993-8DE9-998DAC3D8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86</c:v>
                </c:pt>
              </c:numCache>
            </c:numRef>
          </c:xVal>
          <c:yVal>
            <c:numRef>
              <c:f>Sheet1!$B$2:$B$2</c:f>
              <c:numCache>
                <c:formatCode>General</c:formatCode>
                <c:ptCount val="1"/>
                <c:pt idx="0">
                  <c:v>0.27279047397178152</c:v>
                </c:pt>
              </c:numCache>
            </c:numRef>
          </c:yVal>
          <c:bubbleSize>
            <c:numRef>
              <c:f>Sheet1!$C$2:$C$2</c:f>
              <c:numCache>
                <c:formatCode>General</c:formatCode>
                <c:ptCount val="1"/>
                <c:pt idx="0">
                  <c:v>25406313</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8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DDF565B-D59B-448F-8262-E7B00FA35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1B1B6A9E-0E11-40FF-8696-E79E8CA22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D1D3FB7E-81E0-4E23-897A-0220F9241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EB7DF4D1-9F31-416C-941A-116B65C8A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314647A5-3865-4D5F-AFE4-DE2CFE603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AD26D8C4-98F8-4C71-8DFC-336ACCCC6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322A8E14-EC58-4B7C-A508-B52F54CA7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0435B203-CD3C-4CB1-A983-8E04B8048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4CB6D647-FD12-43DB-B471-4C87E6B10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70084B31-BAFF-49F0-92FB-891164EAD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82B2626A-EE22-414F-B053-A5BE8F665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1FBFC4EF-BF90-4A19-87FA-785D1EFE2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3ADB9E3C-D121-4EE1-8B2F-14BF62F17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258E0D16-B927-426D-90C0-907A6A4EC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5F12A342-DAC8-4EDA-8A42-01BA53828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994A51C9-0502-438C-9965-D9AA0A67A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3970FFB9-9F3F-4395-AD10-5853C0133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37F4D4F5-BB3C-4081-9A25-5925E0B69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6D034C1B-3267-4207-929D-95CBF015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EC89EC92-B727-4FC1-A035-29CEC2CBE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9C410E48-192A-4E1C-A3A4-9A3E78848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FAF8630E-1411-495B-952A-F1B07285C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731F8BA0-4E84-49D1-9781-8A58B33A2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D7CC1187-094B-4DD1-B486-7BDB484B3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140CAF75-5EFF-4F01-903A-6F2E0C85F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D8396162-BA09-4B7A-A207-885AEA144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85596037-CB3C-4B0A-AE31-2EA1FCC5C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805919AF-D01B-47C7-9C17-3717BF537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E24E779C-F7DF-4060-9748-31E4B1626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0C9C5CB4-E67F-407F-A248-F124FCC69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CCFCB53-F213-43D9-A7F1-011643843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FDBD47B2-7A7E-4AC1-B9B2-BEBB4BFFE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0BAA96BC-E4F0-4985-B4E1-A50C7A324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D62CDF02-7353-4606-9E88-A666EAB05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FA31CAC9-2356-4268-B58B-B015E9968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1E5D159B-7F84-492D-8710-B4F77712F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9925C067-D202-49C2-BBD5-8471D58A7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684E21D8-DBB2-4B38-9DD1-DCC6A1DC6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12955D1E-466F-44F8-AE2D-34B3C5D15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C88ADEAD-91A5-4453-958E-FC02594C4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FD432ED4-A3D3-45E7-809C-D992C32A9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7406DC0D-4038-4910-B7C6-A062B331F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44545854-295E-433A-B093-2E1817209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4CEE7BC6-4FBF-4E20-8E30-5762CD813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2F22D4C8-9C20-4685-BE29-6F76E8F16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50FD976A-A9F6-4E05-9137-E9D9FF9D1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5</c:v>
                </c:pt>
                <c:pt idx="1">
                  <c:v>1.4</c:v>
                </c:pt>
                <c:pt idx="2">
                  <c:v>0.06</c:v>
                </c:pt>
                <c:pt idx="3">
                  <c:v>0</c:v>
                </c:pt>
                <c:pt idx="4">
                  <c:v>0</c:v>
                </c:pt>
              </c:numCache>
            </c:numRef>
          </c:xVal>
          <c:yVal>
            <c:numRef>
              <c:f>Sheet1!$B$2:$B$6</c:f>
              <c:numCache>
                <c:formatCode>General</c:formatCode>
                <c:ptCount val="5"/>
                <c:pt idx="0">
                  <c:v>0.59609743116706959</c:v>
                </c:pt>
                <c:pt idx="1">
                  <c:v>0.23075279536192311</c:v>
                </c:pt>
                <c:pt idx="2">
                  <c:v>1.5111368645785229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421524E2-539C-4754-8E11-B1DBBF06A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BA039BF2-C4A6-4C5D-A4D3-545CE5019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72ECEBA4-80C7-43D0-A374-A1605860A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BC60AC2C-E0A2-4306-BD92-4FF0D101E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8BC23879-5377-47D7-9214-B91EA138E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1E11CFA6-1C90-4B7A-8343-64BA9AC8C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CBB722B7-1DE5-4751-80DA-194ED64A4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7822DF1B-6214-4C65-B19F-7FE3DE6C8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799B8BF0-17FF-4397-B0D0-27A29EB02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92E99368-EC81-4946-8522-603F8EEAA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6FBD4554-8374-468D-BDB5-D5B636E66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5A377EF9-CD4F-453F-B585-8AFAE5FED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34EAA3DA-0A66-4612-B37E-C52A8A2CC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4F405FF-24DD-4FDF-ABAC-A4F5173C1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F69C208C-73AC-4115-A28A-8807D84EA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B896874D-2561-4DEC-A561-F3897B92F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D5E919CA-8774-498E-B512-E9FBF151D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78035FD2-689F-47F8-BFE5-AA8591AA4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96928792-AAD0-4B53-84EB-41E4FDA84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B4F24864-2340-4254-9B54-A6196E3F2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D9D96264-3E74-40FF-8CC4-DC3F08BF3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25002B35-84ED-4FD3-93CD-D9193558F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F3CE817E-50DE-4551-BF45-4F9ABC9C9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3BA3AAF5-FBE2-46D4-9D73-FAC33A100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165E1095-A1CD-413E-8CED-EB702A0BF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ADEDC6C0-8B36-474E-A4A3-06E9CEF3B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983D279E-A092-4638-8901-96002F281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2B3784BB-15B3-4ECA-9A4E-17E405900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1087BC41-7FE2-446D-B796-FAE29B887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A0BE0098-9F92-40F1-8C8B-5A44CC40A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DD7B1B6D-70D6-4166-BEB8-D6BA6DB66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981F44EA-CDCA-4268-8AA9-954810B8A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87011D24-6363-4CBF-877F-26D19D880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D10E1A6C-25C2-42DF-B246-2DC3AEEEB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00F02E88-7229-4753-93B9-DDBA1F05D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177C4BB1-161E-49F9-AD3F-E56915DB8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4C556FCF-21A5-4708-9EED-1A50B0198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F5FF95D4-E9C6-4F45-8680-1EB0A90EC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54A3C47D-2DB4-4074-AB16-3CAACB7E4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3555B6D0-D8AF-49AB-8065-1E2E56063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E35A48F7-C83D-4CE1-91B6-6D9C271D5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589621EA-1176-4355-B5A7-C90907D0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4F9F8EAD-7215-42C5-87EC-DF5E3590E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31FE29A6-6749-4227-BB03-C5B57953F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EE8F11F8-E2C7-4087-A8C8-CFC4723BC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E4489E1A-43D7-403B-9588-959D1E9A1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c:v>
                </c:pt>
                <c:pt idx="1">
                  <c:v>1.72</c:v>
                </c:pt>
                <c:pt idx="2">
                  <c:v>1.24</c:v>
                </c:pt>
                <c:pt idx="3">
                  <c:v>0.91</c:v>
                </c:pt>
                <c:pt idx="4">
                  <c:v>0.03</c:v>
                </c:pt>
              </c:numCache>
            </c:numRef>
          </c:xVal>
          <c:yVal>
            <c:numRef>
              <c:f>Sheet1!$B$2:$B$6</c:f>
              <c:numCache>
                <c:formatCode>General</c:formatCode>
                <c:ptCount val="5"/>
                <c:pt idx="0">
                  <c:v>0.81460090735963353</c:v>
                </c:pt>
                <c:pt idx="1">
                  <c:v>0.7383750528378934</c:v>
                </c:pt>
                <c:pt idx="2">
                  <c:v>0.76790738086259158</c:v>
                </c:pt>
                <c:pt idx="3">
                  <c:v>0.14103156992395741</c:v>
                </c:pt>
                <c:pt idx="4">
                  <c:v>0.10001820721860551</c:v>
                </c:pt>
              </c:numCache>
            </c:numRef>
          </c:yVal>
          <c:bubbleSize>
            <c:numRef>
              <c:f>Sheet1!$C$2:$C$6</c:f>
              <c:numCache>
                <c:formatCode>General</c:formatCode>
                <c:ptCount val="5"/>
                <c:pt idx="0">
                  <c:v>1778216</c:v>
                </c:pt>
                <c:pt idx="1">
                  <c:v>1356208</c:v>
                </c:pt>
                <c:pt idx="2">
                  <c:v>901567</c:v>
                </c:pt>
                <c:pt idx="3">
                  <c:v>619932</c:v>
                </c:pt>
                <c:pt idx="4">
                  <c:v>829105</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08"/>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52DD9720-C765-4B18-8632-D261A5F85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F2D6E1A-1894-430A-B777-885DD1876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E48DE06C-2AE8-4337-98D5-AA4D3E493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3C970D50-98FC-42FC-8755-DF8C95238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B58CE0C8-C0D6-465B-B442-707EEFEB7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009678F1-BD0A-4044-819E-7B9180B21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20777377-17DF-4BEE-AF6F-845E55C70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0B53806B-6770-41FB-B5F5-991907077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94DFF520-DD79-4AC6-A821-8FB68A431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C28D5457-7411-459E-BFEF-ECDAA1C7A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ABB25596-56F7-4AD8-94FE-4E31E6288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EC2A4369-7C66-49A6-A67D-72039F357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5E6E23C1-209D-4A4F-ADE6-42FB0ADAE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64084056-E13B-479D-AEBD-AF5B0B732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35365FD2-9D87-4696-910B-3BE6DE4A1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0C6901A4-869A-42D1-AA79-C2D721114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F993C128-7D72-4B9E-8D26-6DDB76751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27A4A6EE-C145-4DFB-88A6-24077A5E9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4766D6DC-7D3D-48B8-A2E9-CC988FCC1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ECF4F92D-5DAA-4505-B74E-C071FF364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12089718-C96E-4571-B58E-C73AC17B5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1B1AEFCC-7DE9-49D2-8919-BC1BCC5DB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0900355F-9F8E-4400-8A49-5CD53DABE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36F0741E-67A7-47A1-9218-5560BD216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7ABA846B-64FB-4818-9B14-A293B99EA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E3E90A4E-B950-4A0E-A7F6-A7A9F8112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5C96C87F-CDE3-490A-84A2-9CFD4D549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805F8103-2903-4183-8DCE-0F4F8A14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9F662E43-4293-4E19-B6DF-17C927377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7EEAB27B-464A-42EE-B0CE-E5DF2AD67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37936071-3A8D-45E4-A323-48CD1B345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9548F063-AFDD-4248-B877-CBFC3ED62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A7C71D3B-F92D-4CF8-B6CA-D7D2FF0D6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42FD6179-B591-4456-808A-28325C57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A973FF2F-2EA6-49EE-8CE0-EFCA4425E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9365BCB1-49CC-45E8-AD8B-584DEFDD5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262947C1-3218-4644-9F72-BA7B7A476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809F6855-9E35-4431-87E0-CF2DCFE74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FAFB2190-A74F-43F9-AA8D-B393138E7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AE04C85B-49CB-4404-8479-CE942811A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6003597D-1DB7-4788-A761-542951B77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DCC47934-BEEC-4946-BD05-7EFFE8E0E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A7BCA42B-BACE-4327-B98A-248DF0A3E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2FD2F855-0451-4850-BE87-670C34AE8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CC965DC2-2B50-46CB-9D9F-5F8504AE1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45E55FE4-1251-4886-9B41-1754E5149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7</c:v>
                </c:pt>
                <c:pt idx="1">
                  <c:v>1.39</c:v>
                </c:pt>
                <c:pt idx="2">
                  <c:v>-0.03</c:v>
                </c:pt>
                <c:pt idx="3">
                  <c:v>-0.69</c:v>
                </c:pt>
              </c:numCache>
            </c:numRef>
          </c:xVal>
          <c:yVal>
            <c:numRef>
              <c:f>Sheet1!$B$2:$B$5</c:f>
              <c:numCache>
                <c:formatCode>General</c:formatCode>
                <c:ptCount val="4"/>
                <c:pt idx="0">
                  <c:v>0.240954913595957</c:v>
                </c:pt>
                <c:pt idx="1">
                  <c:v>0.13864863616545811</c:v>
                </c:pt>
                <c:pt idx="2">
                  <c:v>-1.9226785309249528E-2</c:v>
                </c:pt>
                <c:pt idx="3">
                  <c:v>-5.4076604412468622E-2</c:v>
                </c:pt>
              </c:numCache>
            </c:numRef>
          </c:yVal>
          <c:bubbleSize>
            <c:numRef>
              <c:f>Sheet1!$C$2:$C$5</c:f>
              <c:numCache>
                <c:formatCode>General</c:formatCode>
                <c:ptCount val="4"/>
                <c:pt idx="0">
                  <c:v>1162498</c:v>
                </c:pt>
                <c:pt idx="1">
                  <c:v>1539499</c:v>
                </c:pt>
                <c:pt idx="2">
                  <c:v>914106</c:v>
                </c:pt>
                <c:pt idx="3">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522120857474219E-3</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7999999999999996</c:v>
                </c:pt>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2000000000000004</c:v>
                </c:pt>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11</c:v>
                </c:pt>
                <c:pt idx="1">
                  <c:v>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89</c:v>
                </c:pt>
                <c:pt idx="1">
                  <c:v>0.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6</c:v>
                </c:pt>
                <c:pt idx="1">
                  <c:v>0.05</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4</c:v>
                </c:pt>
                <c:pt idx="1">
                  <c:v>0.95</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1">
                  <c:v>0.04</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1">
                  <c:v>0.9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11</c:v>
                </c:pt>
                <c:pt idx="1">
                  <c:v>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89</c:v>
                </c:pt>
                <c:pt idx="1">
                  <c:v>0.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B$2:$B$3</c:f>
              <c:numCache>
                <c:formatCode>General</c:formatCode>
                <c:ptCount val="2"/>
                <c:pt idx="0">
                  <c:v>0.56000000000000005</c:v>
                </c:pt>
                <c:pt idx="1">
                  <c:v>0.5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C$2:$C$3</c:f>
              <c:numCache>
                <c:formatCode>General</c:formatCode>
                <c:ptCount val="2"/>
                <c:pt idx="0">
                  <c:v>0.43999999999999995</c:v>
                </c:pt>
                <c:pt idx="1">
                  <c:v>0.45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B$2:$B$3</c:f>
              <c:numCache>
                <c:formatCode>General</c:formatCode>
                <c:ptCount val="2"/>
                <c:pt idx="0">
                  <c:v>0.56000000000000005</c:v>
                </c:pt>
                <c:pt idx="1">
                  <c:v>0.5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C$2:$C$3</c:f>
              <c:numCache>
                <c:formatCode>General</c:formatCode>
                <c:ptCount val="2"/>
                <c:pt idx="0">
                  <c:v>0.43999999999999995</c:v>
                </c:pt>
                <c:pt idx="1">
                  <c:v>0.45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B$2:$B$3</c:f>
              <c:numCache>
                <c:formatCode>General</c:formatCode>
                <c:ptCount val="2"/>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C$2:$C$3</c:f>
              <c:numCache>
                <c:formatCode>General</c:formatCode>
                <c:ptCount val="2"/>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B$2:$B$3</c:f>
              <c:numCache>
                <c:formatCode>General</c:formatCode>
                <c:ptCount val="2"/>
                <c:pt idx="0">
                  <c:v>0.56000000000000005</c:v>
                </c:pt>
                <c:pt idx="1">
                  <c:v>0.5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C$2:$C$3</c:f>
              <c:numCache>
                <c:formatCode>General</c:formatCode>
                <c:ptCount val="2"/>
                <c:pt idx="0">
                  <c:v>0.43999999999999995</c:v>
                </c:pt>
                <c:pt idx="1">
                  <c:v>0.45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B$2:$B$3</c:f>
              <c:numCache>
                <c:formatCode>General</c:formatCode>
                <c:ptCount val="2"/>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efills</c:v>
                </c:pt>
                <c:pt idx="1">
                  <c:v>Razors</c:v>
                </c:pt>
              </c:strCache>
            </c:strRef>
          </c:cat>
          <c:val>
            <c:numRef>
              <c:f>Sheet1!$C$2:$C$3</c:f>
              <c:numCache>
                <c:formatCode>General</c:formatCode>
                <c:ptCount val="2"/>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1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8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1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8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04</c:v>
                </c:pt>
                <c:pt idx="1">
                  <c:v>0.09</c:v>
                </c:pt>
                <c:pt idx="2">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96</c:v>
                </c:pt>
                <c:pt idx="1">
                  <c:v>0.91</c:v>
                </c:pt>
                <c:pt idx="2">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1</c:v>
                </c:pt>
                <c:pt idx="1">
                  <c:v>0.42900000000000005</c:v>
                </c:pt>
                <c:pt idx="2">
                  <c:v>8.6999999999999966E-2</c:v>
                </c:pt>
                <c:pt idx="3">
                  <c:v>0.55600000000000005</c:v>
                </c:pt>
                <c:pt idx="4">
                  <c:v>0.667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28999999999999998</c:v>
                </c:pt>
                <c:pt idx="1">
                  <c:v>0.33</c:v>
                </c:pt>
                <c:pt idx="2">
                  <c:v>0.2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71</c:v>
                </c:pt>
                <c:pt idx="1">
                  <c:v>0.66999999999999993</c:v>
                </c:pt>
                <c:pt idx="2">
                  <c:v>0.7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04</c:v>
                </c:pt>
                <c:pt idx="1">
                  <c:v>0.09</c:v>
                </c:pt>
                <c:pt idx="2">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96</c:v>
                </c:pt>
                <c:pt idx="1">
                  <c:v>0.91</c:v>
                </c:pt>
                <c:pt idx="2">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06</c:v>
                </c:pt>
                <c:pt idx="1">
                  <c:v>0.02</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94</c:v>
                </c:pt>
                <c:pt idx="1">
                  <c:v>0.98</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04</c:v>
                </c:pt>
                <c:pt idx="1">
                  <c:v>0.09</c:v>
                </c:pt>
                <c:pt idx="2">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96</c:v>
                </c:pt>
                <c:pt idx="1">
                  <c:v>0.91</c:v>
                </c:pt>
                <c:pt idx="2">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06</c:v>
                </c:pt>
                <c:pt idx="1">
                  <c:v>0.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94</c:v>
                </c:pt>
                <c:pt idx="1">
                  <c:v>0.9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04</c:v>
                </c:pt>
                <c:pt idx="1">
                  <c:v>0.09</c:v>
                </c:pt>
                <c:pt idx="2">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96</c:v>
                </c:pt>
                <c:pt idx="1">
                  <c:v>0.91</c:v>
                </c:pt>
                <c:pt idx="2">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B$2:$B$4</c:f>
              <c:numCache>
                <c:formatCode>General</c:formatCode>
                <c:ptCount val="3"/>
                <c:pt idx="0">
                  <c:v>0.28000000000000003</c:v>
                </c:pt>
                <c:pt idx="1">
                  <c:v>0.33</c:v>
                </c:pt>
                <c:pt idx="2">
                  <c:v>0.2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Refills</c:v>
                </c:pt>
                <c:pt idx="1">
                  <c:v>Razors</c:v>
                </c:pt>
                <c:pt idx="2">
                  <c:v>Hybrid</c:v>
                </c:pt>
              </c:strCache>
            </c:strRef>
          </c:cat>
          <c:val>
            <c:numRef>
              <c:f>Sheet1!$C$2:$C$4</c:f>
              <c:numCache>
                <c:formatCode>General</c:formatCode>
                <c:ptCount val="3"/>
                <c:pt idx="0">
                  <c:v>0.72</c:v>
                </c:pt>
                <c:pt idx="1">
                  <c:v>0.66999999999999993</c:v>
                </c:pt>
                <c:pt idx="2">
                  <c:v>0.7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withinLinear" id="15">
  <a:schemeClr val="accent2"/>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withinLinear" id="15">
  <a:schemeClr val="accent2"/>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0/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97.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98.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99.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0.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1.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2.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3.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05.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06.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07.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08.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26.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27.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28.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29.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0.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1.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2.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3.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35.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36.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37.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38.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39.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0.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1.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2.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3.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45.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46.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47.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48.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49.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0.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1.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2.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3.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55.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56.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57.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58.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61.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60.xml"/><Relationship Id="rId5" Type="http://schemas.openxmlformats.org/officeDocument/2006/relationships/chart" Target="../charts/chart159.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8" Type="http://schemas.openxmlformats.org/officeDocument/2006/relationships/chart" Target="../charts/chart165.xml"/><Relationship Id="rId3" Type="http://schemas.openxmlformats.org/officeDocument/2006/relationships/oleObject" Target="../embeddings/oleObject28.bin"/><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63.xml"/><Relationship Id="rId5" Type="http://schemas.openxmlformats.org/officeDocument/2006/relationships/chart" Target="../charts/chart162.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8" Type="http://schemas.openxmlformats.org/officeDocument/2006/relationships/chart" Target="../charts/chart176.xml"/><Relationship Id="rId3" Type="http://schemas.openxmlformats.org/officeDocument/2006/relationships/oleObject" Target="../embeddings/oleObject28.bin"/><Relationship Id="rId7"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78.xml"/><Relationship Id="rId5" Type="http://schemas.openxmlformats.org/officeDocument/2006/relationships/chart" Target="../charts/chart177.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80.xml"/><Relationship Id="rId5" Type="http://schemas.openxmlformats.org/officeDocument/2006/relationships/chart" Target="../charts/chart179.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8" Type="http://schemas.openxmlformats.org/officeDocument/2006/relationships/chart" Target="../charts/chart187.xml"/><Relationship Id="rId3" Type="http://schemas.openxmlformats.org/officeDocument/2006/relationships/oleObject" Target="../embeddings/oleObject28.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oleObject" Target="../embeddings/oleObject28.bin"/><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89.xml"/><Relationship Id="rId5" Type="http://schemas.openxmlformats.org/officeDocument/2006/relationships/chart" Target="../charts/chart188.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93.xml"/><Relationship Id="rId5" Type="http://schemas.openxmlformats.org/officeDocument/2006/relationships/chart" Target="../charts/chart192.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95.xml"/><Relationship Id="rId5" Type="http://schemas.openxmlformats.org/officeDocument/2006/relationships/chart" Target="../charts/chart194.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201.xml"/><Relationship Id="rId5" Type="http://schemas.openxmlformats.org/officeDocument/2006/relationships/chart" Target="../charts/chart200.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207.xml"/><Relationship Id="rId5" Type="http://schemas.openxmlformats.org/officeDocument/2006/relationships/chart" Target="../charts/chart206.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211.xml"/><Relationship Id="rId5" Type="http://schemas.openxmlformats.org/officeDocument/2006/relationships/chart" Target="../charts/chart210.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217.xml"/><Relationship Id="rId5" Type="http://schemas.openxmlformats.org/officeDocument/2006/relationships/chart" Target="../charts/chart216.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223.xml"/><Relationship Id="rId5" Type="http://schemas.openxmlformats.org/officeDocument/2006/relationships/chart" Target="../charts/chart222.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225.xml"/><Relationship Id="rId5" Type="http://schemas.openxmlformats.org/officeDocument/2006/relationships/chart" Target="../charts/chart224.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231.xml"/><Relationship Id="rId5" Type="http://schemas.openxmlformats.org/officeDocument/2006/relationships/chart" Target="../charts/chart230.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235.xml"/><Relationship Id="rId5" Type="http://schemas.openxmlformats.org/officeDocument/2006/relationships/chart" Target="../charts/chart234.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236.xml"/><Relationship Id="rId4" Type="http://schemas.openxmlformats.org/officeDocument/2006/relationships/image" Target="../media/image31.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237.xml"/><Relationship Id="rId4" Type="http://schemas.openxmlformats.org/officeDocument/2006/relationships/image" Target="../media/image31.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3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241.xml"/><Relationship Id="rId5" Type="http://schemas.openxmlformats.org/officeDocument/2006/relationships/chart" Target="../charts/chart240.xml"/><Relationship Id="rId4" Type="http://schemas.openxmlformats.org/officeDocument/2006/relationships/image" Target="../media/image31.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42.xml"/><Relationship Id="rId4" Type="http://schemas.openxmlformats.org/officeDocument/2006/relationships/image" Target="../media/image31.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43.xml"/><Relationship Id="rId4" Type="http://schemas.openxmlformats.org/officeDocument/2006/relationships/image" Target="../media/image31.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31.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247.xml"/><Relationship Id="rId5" Type="http://schemas.openxmlformats.org/officeDocument/2006/relationships/chart" Target="../charts/chart246.xml"/><Relationship Id="rId4" Type="http://schemas.openxmlformats.org/officeDocument/2006/relationships/image" Target="../media/image31.emf"/></Relationships>
</file>

<file path=ppt/slides/_rels/slide205.xml.rels><?xml version="1.0" encoding="UTF-8" standalone="yes"?>
<Relationships xmlns="http://schemas.openxmlformats.org/package/2006/relationships"><Relationship Id="rId8" Type="http://schemas.openxmlformats.org/officeDocument/2006/relationships/chart" Target="../charts/chart250.xml"/><Relationship Id="rId3" Type="http://schemas.openxmlformats.org/officeDocument/2006/relationships/notesSlide" Target="../notesSlides/notesSlide73.xml"/><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2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6.xml.rels><?xml version="1.0" encoding="UTF-8" standalone="yes"?>
<Relationships xmlns="http://schemas.openxmlformats.org/package/2006/relationships"><Relationship Id="rId8" Type="http://schemas.openxmlformats.org/officeDocument/2006/relationships/chart" Target="../charts/chart253.xml"/><Relationship Id="rId3" Type="http://schemas.openxmlformats.org/officeDocument/2006/relationships/notesSlide" Target="../notesSlides/notesSlide74.xml"/><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25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25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8.xml.rels><?xml version="1.0" encoding="UTF-8" standalone="yes"?>
<Relationships xmlns="http://schemas.openxmlformats.org/package/2006/relationships"><Relationship Id="rId8" Type="http://schemas.openxmlformats.org/officeDocument/2006/relationships/chart" Target="../charts/chart258.xml"/><Relationship Id="rId3" Type="http://schemas.openxmlformats.org/officeDocument/2006/relationships/notesSlide" Target="../notesSlides/notesSlide76.xml"/><Relationship Id="rId7" Type="http://schemas.openxmlformats.org/officeDocument/2006/relationships/chart" Target="../charts/chart257.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25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259.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0.xml.rels><?xml version="1.0" encoding="UTF-8" standalone="yes"?>
<Relationships xmlns="http://schemas.openxmlformats.org/package/2006/relationships"><Relationship Id="rId8" Type="http://schemas.openxmlformats.org/officeDocument/2006/relationships/chart" Target="../charts/chart263.xml"/><Relationship Id="rId3" Type="http://schemas.openxmlformats.org/officeDocument/2006/relationships/notesSlide" Target="../notesSlides/notesSlide78.xml"/><Relationship Id="rId7" Type="http://schemas.openxmlformats.org/officeDocument/2006/relationships/chart" Target="../charts/chart262.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261.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264.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26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2.xml.rels><?xml version="1.0" encoding="UTF-8" standalone="yes"?>
<Relationships xmlns="http://schemas.openxmlformats.org/package/2006/relationships"><Relationship Id="rId8" Type="http://schemas.openxmlformats.org/officeDocument/2006/relationships/chart" Target="../charts/chart269.xml"/><Relationship Id="rId3" Type="http://schemas.openxmlformats.org/officeDocument/2006/relationships/notesSlide" Target="../notesSlides/notesSlide80.xml"/><Relationship Id="rId7" Type="http://schemas.openxmlformats.org/officeDocument/2006/relationships/chart" Target="../charts/chart268.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26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27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4.xml.rels><?xml version="1.0" encoding="UTF-8" standalone="yes"?>
<Relationships xmlns="http://schemas.openxmlformats.org/package/2006/relationships"><Relationship Id="rId8" Type="http://schemas.openxmlformats.org/officeDocument/2006/relationships/chart" Target="../charts/chart274.xml"/><Relationship Id="rId3" Type="http://schemas.openxmlformats.org/officeDocument/2006/relationships/notesSlide" Target="../notesSlides/notesSlide82.xml"/><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7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5.xml.rels><?xml version="1.0" encoding="UTF-8" standalone="yes"?>
<Relationships xmlns="http://schemas.openxmlformats.org/package/2006/relationships"><Relationship Id="rId8" Type="http://schemas.openxmlformats.org/officeDocument/2006/relationships/chart" Target="../charts/chart277.xml"/><Relationship Id="rId3" Type="http://schemas.openxmlformats.org/officeDocument/2006/relationships/notesSlide" Target="../notesSlides/notesSlide83.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75.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278.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chart" Target="../charts/chart280.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286.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chart" Target="../charts/chart290.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chart" Target="../charts/chart292.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chart" Target="../charts/chart296.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298.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302.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309.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310.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2.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311.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312.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313.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314.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315.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316.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317.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318.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319.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32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3.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4.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5.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7.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0.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1.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2.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4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4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46.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47.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8.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9.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50.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51.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52.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5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5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4725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39301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589128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723736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92196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573637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811919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9330285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4306501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902867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94229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7056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2897342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820531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636724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7325132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75646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566565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992331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69491580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32203322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60497919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efill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704378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688744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Manual Shave Men | Bj's And Sam'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3421907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Comfort 3</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981723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1716610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5495737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Comfort 3</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565750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3064067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1413845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4890952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006934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41283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410588356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Refill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6364827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Manual Shave Men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3004573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Manual Shave Men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24258039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Manual Shave Men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9320304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69891516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6322201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5698888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5269206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System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17735146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System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15461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65380349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1616767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9589635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3013389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2106993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1432665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9118963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42147842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5489092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8461835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39022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87242482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1662392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23505534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6377782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623591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Razor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9195940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Razors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5815009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85120679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373808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53786013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0359192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415061572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9108238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06156274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6595371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1065404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Manual Shave Men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defRPr sz="800">
                          <a:latin typeface="Nexa Bold"/>
                        </a:defRPr>
                      </a:pPr>
                      <a:r>
                        <a:t>Cremo</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968956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Manual Shave Men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Equat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remo</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1607663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Disposables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2008307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Disposables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defRPr sz="800">
                          <a:latin typeface="Nexa Bold"/>
                        </a:defRPr>
                      </a:pPr>
                      <a:r>
                        <a:t>Equate</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5047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ystem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Cremo</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6993992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ystem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Equat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remo</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58292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64198100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61474886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Disposables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8002572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Disposables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defRPr sz="800">
                          <a:latin typeface="Nexa Bold"/>
                        </a:defRPr>
                      </a:pPr>
                      <a:r>
                        <a:t>Equate</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215704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Razors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Cremo</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9400502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Razors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Equat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remo</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3057931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Refills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defRPr sz="800">
                          <a:latin typeface="Nexa Bold"/>
                        </a:defRPr>
                      </a:pPr>
                      <a:r>
                        <a:t>Edgewell Personal Care</a:t>
                      </a: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defRPr sz="800">
                          <a:latin typeface="Nexa Bold"/>
                        </a:defRPr>
                      </a:pPr>
                      <a:r>
                        <a:t>Schick</a:t>
                      </a: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defRPr sz="800">
                          <a:latin typeface="Nexa Bold"/>
                        </a:defRPr>
                      </a:pPr>
                      <a:r>
                        <a:t>Equate</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defRPr sz="800">
                          <a:latin typeface="Nexa Bold"/>
                        </a:defRPr>
                      </a:pPr>
                      <a:r>
                        <a:t>Cremo</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1797438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Manual Shave Men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64812987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25579932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377093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Manual Shave Men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652984377"/>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58395717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072385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Manual Shave Men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647216675"/>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29895976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532088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Manual Shave Men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583037345"/>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58627545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5722555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Manual Shave Men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2297242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69929174"/>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075101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772087584"/>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219312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System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153661771"/>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530520979"/>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578767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System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39207036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90187938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964102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System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261160057"/>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63709527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3835918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System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181360303"/>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6069933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0417328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47457613"/>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84247747"/>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6296828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715975833"/>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561775515"/>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5725447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66719793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40337150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9800149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28581567"/>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384870253"/>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5412995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11614335"/>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544117133"/>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161198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0604882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113525883"/>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864112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293861365"/>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62369394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Razors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048542646"/>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964834737"/>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508620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azor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28552631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9106605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3840771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azor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44910497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08019167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0718771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azors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6347068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034458675"/>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996684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efill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637052196"/>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4008432277"/>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9295528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efill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30493445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99001113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522528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efills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91032923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81640430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9375933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Bj's And Sam's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287243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Walmart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1278947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Bj's And Sam's | Manual Shave Men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36640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3572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155011625"/>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61774863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Walmart | Manual Shave Men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1244951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Bj's And Sam's | Disposable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156320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Walmart | Disposable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5411702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Bj's And Sam's | System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2618761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Walmart | System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5216524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j's And Sam's | Manual Shave Men | RETAILER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Cremo</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1164398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Walmart | Manual Shave Men | RETAILER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Cremo</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4188603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j's And Sam's | Disposables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751281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Walmart | Disposables | RETAILER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Equat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9552966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j's And Sam's | System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Cremo</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32319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472746649"/>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771564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Walmart | System | RETAILER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pPr algn="ctr">
                        <a:defRPr sz="800">
                          <a:latin typeface="Nexa Bold"/>
                        </a:defRPr>
                      </a:pPr>
                      <a:r>
                        <a:t>Equat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pPr algn="ctr">
                        <a:defRPr sz="800">
                          <a:latin typeface="Nexa Bold"/>
                        </a:defRPr>
                      </a:pPr>
                      <a:r>
                        <a:t>Cremo</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4534118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j's And Sam's | Disposables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978542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Walmart | Disposables | RETAILER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Equat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8885443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Bj's And Sam's | Razors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Cremo</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960528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Walmart | Razors | RETAILER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Cremo</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3306638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Walmart | Refills | RETAILER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pPr algn="ctr">
                        <a:defRPr sz="800">
                          <a:latin typeface="Nexa Bold"/>
                        </a:defRPr>
                      </a:pPr>
                      <a:r>
                        <a:t>Edgewell Personal Car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pPr algn="ctr">
                        <a:defRPr sz="800">
                          <a:latin typeface="Nexa Bold"/>
                        </a:defRPr>
                      </a:pPr>
                      <a:r>
                        <a:t>Schick</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pPr algn="ctr">
                        <a:defRPr sz="800">
                          <a:latin typeface="Nexa Bold"/>
                        </a:defRPr>
                      </a:pPr>
                      <a:r>
                        <a:t>Equate</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pPr algn="ctr">
                        <a:defRPr sz="800">
                          <a:latin typeface="Nexa Bold"/>
                        </a:defRPr>
                      </a:pPr>
                      <a:r>
                        <a:t>Cremo</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3610094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243320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6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345238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444032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85015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200533553"/>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00261716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0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1803147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862810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796129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961199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458943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602524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9481507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295872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16045131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048162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29168755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3206449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0124818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60290527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440833974"/>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82198370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20286888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02947582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570329588"/>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8729404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230310241"/>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12781881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171011746"/>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26388988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4146010897"/>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5147008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4205984"/>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40784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89773573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6126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799376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4176949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7720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2924464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513447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8351745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629336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904552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178874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8945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System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71832322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057628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882911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14119090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71697742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8561384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564620507"/>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efill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6183341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500558701"/>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6555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System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127690782"/>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66305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23461224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27003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441244693"/>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2867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70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Razor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675595591"/>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0226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Refill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07282949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39454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305144272"/>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63040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Razor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258922313"/>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8975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Refill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505702475"/>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532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GREEN 3 BLADE DISPOSABLE SENSITIVE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105231269"/>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598755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22544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22544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22544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22544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22544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225440">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225440">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225440">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225440">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225440">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225440">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225440">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225440">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225440">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225440">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225440">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25206102"/>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567065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System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850725119"/>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644666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145980317"/>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04860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System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4"/>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00587">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300587">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300587">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300587">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300587">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300587">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300587">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300587">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300587">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300587">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300587">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300587">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611716573"/>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757279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86683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060232972"/>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909751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726982692"/>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296146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Razor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1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029219936"/>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633069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Refill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43615546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916652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969464563"/>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391443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Razor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333610778"/>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317223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Refill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458926571"/>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623585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33.51</a:t>
                      </a:r>
                    </a:p>
                  </a:txBody>
                  <a:tcPr marL="2858" marR="2858" marT="2858" marB="0" anchor="ctr">
                    <a:noFill/>
                  </a:tcPr>
                </a:tc>
                <a:tc>
                  <a:txBody>
                    <a:bodyPr/>
                    <a:lstStyle/>
                    <a:p>
                      <a:pPr algn="ctr">
                        <a:defRPr sz="600">
                          <a:latin typeface="Nexa Book"/>
                        </a:defRPr>
                      </a:pPr>
                      <a:r>
                        <a:rPr sz="600">
                          <a:latin typeface="Nexa Book"/>
                        </a:rPr>
                        <a:t> 30.52</a:t>
                      </a:r>
                    </a:p>
                  </a:txBody>
                  <a:tcPr marL="2858" marR="2858" marT="2858" marB="0" anchor="ctr">
                    <a:noFill/>
                  </a:tcPr>
                </a:tc>
                <a:tc>
                  <a:txBody>
                    <a:bodyPr/>
                    <a:lstStyle/>
                    <a:p>
                      <a:pPr algn="ctr">
                        <a:defRPr sz="600">
                          <a:latin typeface="Nexa Book"/>
                        </a:defRPr>
                      </a:pPr>
                      <a:r>
                        <a:rPr sz="600">
                          <a:latin typeface="Nexa Book"/>
                        </a:rPr>
                        <a:t>8'454'93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1529188</a:t>
                      </a:r>
                    </a:p>
                  </a:txBody>
                  <a:tcPr marL="2858" marR="2858" marT="2858" marB="0" anchor="ctr">
                    <a:noFill/>
                  </a:tcPr>
                </a:tc>
                <a:tc>
                  <a:txBody>
                    <a:bodyPr/>
                    <a:lstStyle/>
                    <a:p>
                      <a:pPr algn="ctr">
                        <a:defRPr sz="600">
                          <a:latin typeface="Nexa Book"/>
                        </a:defRPr>
                      </a:pPr>
                      <a:r>
                        <a:rPr sz="600">
                          <a:latin typeface="Nexa Book"/>
                        </a:rPr>
                        <a:t>19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714</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018193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72"/>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02582">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644045330"/>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1</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5</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40585</a:t>
                      </a:r>
                    </a:p>
                  </a:txBody>
                  <a:tcPr marL="2858" marR="2858" marT="2858" marB="0" anchor="ctr">
                    <a:noFill/>
                  </a:tcPr>
                </a:tc>
                <a:tc>
                  <a:txBody>
                    <a:bodyPr/>
                    <a:lstStyle/>
                    <a:p>
                      <a:pPr algn="ctr">
                        <a:defRPr sz="600">
                          <a:latin typeface="Nexa Book"/>
                        </a:defRPr>
                      </a:pPr>
                      <a:r>
                        <a:rPr sz="600">
                          <a:latin typeface="Nexa Book"/>
                        </a:rPr>
                        <a:t>1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02567</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02582">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664971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714</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75808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47321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18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2845205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1</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5</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40585</a:t>
                      </a:r>
                    </a:p>
                  </a:txBody>
                  <a:tcPr marL="2858" marR="2858" marT="2858" marB="0" anchor="ctr">
                    <a:noFill/>
                  </a:tcPr>
                </a:tc>
                <a:tc>
                  <a:txBody>
                    <a:bodyPr/>
                    <a:lstStyle/>
                    <a:p>
                      <a:pPr algn="ctr">
                        <a:defRPr sz="600">
                          <a:latin typeface="Nexa Book"/>
                        </a:defRPr>
                      </a:pPr>
                      <a:r>
                        <a:rPr sz="600">
                          <a:latin typeface="Nexa Book"/>
                        </a:rPr>
                        <a:t>1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02567</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6277247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1679252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18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6749673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PROGLIDE 5 BLADE RAZOR NORMAL 1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6.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3.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1'94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097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9832307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efill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680886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2894661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4580717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efill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4.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9.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62'49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05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583377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32</a:t>
                      </a:r>
                    </a:p>
                  </a:txBody>
                  <a:tcPr marL="2858" marR="2858" marT="2858" marB="0" anchor="ctr">
                    <a:noFill/>
                  </a:tcPr>
                </a:tc>
                <a:tc>
                  <a:txBody>
                    <a:bodyPr/>
                    <a:lstStyle/>
                    <a:p>
                      <a:pPr algn="ctr">
                        <a:defRPr sz="600">
                          <a:latin typeface="Nexa Book"/>
                        </a:defRPr>
                      </a:pPr>
                      <a:r>
                        <a:rPr sz="600">
                          <a:latin typeface="Nexa Book"/>
                        </a:rPr>
                        <a:t> 8.85</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83834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24097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10.69</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3689589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4972575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5927012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10.69</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5747812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762418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366325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7109261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552850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9553619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efill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Equa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EQUATE EASY FIT 5 5 BLADE REFILL NORMAL 1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5.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6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8%</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21940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24806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32</a:t>
                      </a:r>
                    </a:p>
                  </a:txBody>
                  <a:tcPr marL="2858" marR="2858" marT="2858" marB="0" anchor="ctr">
                    <a:noFill/>
                  </a:tcPr>
                </a:tc>
                <a:tc>
                  <a:txBody>
                    <a:bodyPr/>
                    <a:lstStyle/>
                    <a:p>
                      <a:pPr algn="ctr">
                        <a:defRPr sz="600">
                          <a:latin typeface="Nexa Book"/>
                        </a:defRPr>
                      </a:pPr>
                      <a:r>
                        <a:rPr sz="600">
                          <a:latin typeface="Nexa Book"/>
                        </a:rPr>
                        <a:t> 8.85</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749714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2833858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System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1867991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1297615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System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7392441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6017743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483713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azor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9645925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2910166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azor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9.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64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25869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527827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efill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4329719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969926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14797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672235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30290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44749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732420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79405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358374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7068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26703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291835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190499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884842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11764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4042055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066068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884880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337546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59715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8652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7551193-7C66-436D-8ABA-4B99F0776D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TotalTime>
  <Words>29170</Words>
  <Application>Microsoft Office PowerPoint</Application>
  <PresentationFormat>On-screen Show (16:9)</PresentationFormat>
  <Paragraphs>9649</Paragraphs>
  <Slides>255</Slides>
  <Notes>11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55</vt:i4>
      </vt:variant>
    </vt:vector>
  </HeadingPairs>
  <TitlesOfParts>
    <vt:vector size="269" baseType="lpstr">
      <vt:lpstr>Aptos</vt:lpstr>
      <vt:lpstr>Arial</vt:lpstr>
      <vt:lpstr>Calibri</vt:lpstr>
      <vt:lpstr>Nexa</vt:lpstr>
      <vt:lpstr>Nexa Bold</vt:lpstr>
      <vt:lpstr>Nexa Bold (Headings)</vt:lpstr>
      <vt:lpstr>Nexa Book</vt:lpstr>
      <vt:lpstr>Nexa Book (Body)</vt:lpstr>
      <vt:lpstr>Nexa Book Italic</vt:lpstr>
      <vt:lpstr>Nexa-RegularItalic</vt:lpstr>
      <vt:lpstr>Open Sans</vt:lpstr>
      <vt:lpstr>Raleway</vt:lpstr>
      <vt:lpstr>PricingOne Light Template Oct 2024</vt:lpstr>
      <vt:lpstr>think-cell Slide</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60</cp:revision>
  <dcterms:created xsi:type="dcterms:W3CDTF">2024-07-08T12:46:55Z</dcterms:created>
  <dcterms:modified xsi:type="dcterms:W3CDTF">2025-08-10T16:4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